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9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1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3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4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5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6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7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58" r:id="rId2"/>
    <p:sldMasterId id="2147485243" r:id="rId3"/>
    <p:sldMasterId id="2147485245" r:id="rId4"/>
    <p:sldMasterId id="2147485259" r:id="rId5"/>
    <p:sldMasterId id="2147485274" r:id="rId6"/>
    <p:sldMasterId id="2147485283" r:id="rId7"/>
    <p:sldMasterId id="2147485289" r:id="rId8"/>
    <p:sldMasterId id="2147485294" r:id="rId9"/>
    <p:sldMasterId id="2147485310" r:id="rId10"/>
    <p:sldMasterId id="2147485327" r:id="rId11"/>
    <p:sldMasterId id="2147485330" r:id="rId12"/>
    <p:sldMasterId id="2147485335" r:id="rId13"/>
    <p:sldMasterId id="2147485364" r:id="rId14"/>
    <p:sldMasterId id="2147485379" r:id="rId15"/>
  </p:sldMasterIdLst>
  <p:notesMasterIdLst>
    <p:notesMasterId r:id="rId25"/>
  </p:notesMasterIdLst>
  <p:handoutMasterIdLst>
    <p:handoutMasterId r:id="rId26"/>
  </p:handoutMasterIdLst>
  <p:sldIdLst>
    <p:sldId id="643" r:id="rId16"/>
    <p:sldId id="632" r:id="rId17"/>
    <p:sldId id="647" r:id="rId18"/>
    <p:sldId id="654" r:id="rId19"/>
    <p:sldId id="655" r:id="rId20"/>
    <p:sldId id="659" r:id="rId21"/>
    <p:sldId id="634" r:id="rId22"/>
    <p:sldId id="653" r:id="rId23"/>
    <p:sldId id="656" r:id="rId24"/>
  </p:sldIdLst>
  <p:sldSz cx="9601200" cy="7315200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15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31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47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6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5796" algn="l" defTabSz="914319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2956" algn="l" defTabSz="914319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114" algn="l" defTabSz="914319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274" algn="l" defTabSz="914319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3C8A2E"/>
    <a:srgbClr val="A30329"/>
    <a:srgbClr val="FF0000"/>
    <a:srgbClr val="3399FF"/>
    <a:srgbClr val="F2FDE3"/>
    <a:srgbClr val="CFEAF5"/>
    <a:srgbClr val="C7D28A"/>
    <a:srgbClr val="8BA69C"/>
    <a:srgbClr val="D1F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673" autoAdjust="0"/>
    <p:restoredTop sz="91773" autoAdjust="0"/>
  </p:normalViewPr>
  <p:slideViewPr>
    <p:cSldViewPr snapToGrid="0">
      <p:cViewPr>
        <p:scale>
          <a:sx n="100" d="100"/>
          <a:sy n="100" d="100"/>
        </p:scale>
        <p:origin x="-1284" y="870"/>
      </p:cViewPr>
      <p:guideLst>
        <p:guide orient="horz" pos="2275"/>
        <p:guide pos="302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-2778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188C3F-4E06-487E-A3D7-DABB5AFF202F}" type="doc">
      <dgm:prSet loTypeId="urn:microsoft.com/office/officeart/2005/8/layout/hierarchy1" loCatId="hierarchy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760B560-2E55-4D9A-9671-0155FA6070AE}">
      <dgm:prSet/>
      <dgm:spPr/>
      <dgm:t>
        <a:bodyPr/>
        <a:lstStyle/>
        <a:p>
          <a:r>
            <a:rPr lang="en-US" b="1" dirty="0" smtClean="0"/>
            <a:t>Automation Script</a:t>
          </a:r>
          <a:endParaRPr lang="en-US" b="1" dirty="0"/>
        </a:p>
      </dgm:t>
    </dgm:pt>
    <dgm:pt modelId="{6715957C-71DD-4D10-A240-C9213572AE80}" type="parTrans" cxnId="{EC4A889C-C28B-4D40-A59B-FA81B1785C58}">
      <dgm:prSet/>
      <dgm:spPr/>
      <dgm:t>
        <a:bodyPr/>
        <a:lstStyle/>
        <a:p>
          <a:endParaRPr lang="en-US"/>
        </a:p>
      </dgm:t>
    </dgm:pt>
    <dgm:pt modelId="{01E5DE01-22E4-47E5-BC6D-85D40EB2D0E0}" type="sibTrans" cxnId="{EC4A889C-C28B-4D40-A59B-FA81B1785C58}">
      <dgm:prSet/>
      <dgm:spPr/>
      <dgm:t>
        <a:bodyPr/>
        <a:lstStyle/>
        <a:p>
          <a:endParaRPr lang="en-US"/>
        </a:p>
      </dgm:t>
    </dgm:pt>
    <dgm:pt modelId="{F26CEC92-F982-4A5A-8C5E-152FF3C500A9}">
      <dgm:prSet/>
      <dgm:spPr/>
      <dgm:t>
        <a:bodyPr/>
        <a:lstStyle/>
        <a:p>
          <a:r>
            <a:rPr lang="en-US" b="1" dirty="0" smtClean="0"/>
            <a:t>MM</a:t>
          </a:r>
          <a:endParaRPr lang="en-US" b="1" dirty="0"/>
        </a:p>
      </dgm:t>
    </dgm:pt>
    <dgm:pt modelId="{33546020-90D8-4728-99F9-93191ACF8EC0}" type="parTrans" cxnId="{F3279497-0C4A-49AB-B2C5-E30503375A15}">
      <dgm:prSet/>
      <dgm:spPr/>
      <dgm:t>
        <a:bodyPr/>
        <a:lstStyle/>
        <a:p>
          <a:endParaRPr lang="en-US"/>
        </a:p>
      </dgm:t>
    </dgm:pt>
    <dgm:pt modelId="{AF227F58-5192-4A07-83F3-77F582140876}" type="sibTrans" cxnId="{F3279497-0C4A-49AB-B2C5-E30503375A15}">
      <dgm:prSet/>
      <dgm:spPr/>
      <dgm:t>
        <a:bodyPr/>
        <a:lstStyle/>
        <a:p>
          <a:endParaRPr lang="en-US"/>
        </a:p>
      </dgm:t>
    </dgm:pt>
    <dgm:pt modelId="{733A9DAD-8C76-457C-A0C8-E5F447E36EA6}">
      <dgm:prSet/>
      <dgm:spPr/>
      <dgm:t>
        <a:bodyPr/>
        <a:lstStyle/>
        <a:p>
          <a:r>
            <a:rPr lang="en-US" b="1" dirty="0" smtClean="0"/>
            <a:t>….</a:t>
          </a:r>
          <a:endParaRPr lang="en-US" b="1" dirty="0"/>
        </a:p>
      </dgm:t>
    </dgm:pt>
    <dgm:pt modelId="{420377E6-1260-4950-A3D4-ED85F418FC1F}" type="parTrans" cxnId="{B7178B9A-92E9-49A1-BEA5-D80C9745DCCB}">
      <dgm:prSet/>
      <dgm:spPr/>
      <dgm:t>
        <a:bodyPr/>
        <a:lstStyle/>
        <a:p>
          <a:endParaRPr lang="en-US"/>
        </a:p>
      </dgm:t>
    </dgm:pt>
    <dgm:pt modelId="{190FAFB8-A12E-4BD8-8ABE-57011822AF10}" type="sibTrans" cxnId="{B7178B9A-92E9-49A1-BEA5-D80C9745DCCB}">
      <dgm:prSet/>
      <dgm:spPr/>
      <dgm:t>
        <a:bodyPr/>
        <a:lstStyle/>
        <a:p>
          <a:endParaRPr lang="en-US"/>
        </a:p>
      </dgm:t>
    </dgm:pt>
    <dgm:pt modelId="{72931B5D-72BF-4714-B7CB-FF06F48F1301}">
      <dgm:prSet/>
      <dgm:spPr/>
      <dgm:t>
        <a:bodyPr/>
        <a:lstStyle/>
        <a:p>
          <a:r>
            <a:rPr lang="en-US" b="1" dirty="0" smtClean="0"/>
            <a:t>UI</a:t>
          </a:r>
          <a:r>
            <a:rPr lang="en-US" dirty="0" smtClean="0"/>
            <a:t> </a:t>
          </a:r>
          <a:endParaRPr lang="en-US" dirty="0"/>
        </a:p>
      </dgm:t>
    </dgm:pt>
    <dgm:pt modelId="{80E59671-DFF1-4FD9-8BBC-87ABC7D1CF8C}" type="parTrans" cxnId="{5F28EE40-889F-4E7F-B383-6719336B243F}">
      <dgm:prSet/>
      <dgm:spPr/>
      <dgm:t>
        <a:bodyPr/>
        <a:lstStyle/>
        <a:p>
          <a:endParaRPr lang="en-US"/>
        </a:p>
      </dgm:t>
    </dgm:pt>
    <dgm:pt modelId="{734DC57A-C0F9-4381-8D7D-84144BC58DEF}" type="sibTrans" cxnId="{5F28EE40-889F-4E7F-B383-6719336B243F}">
      <dgm:prSet/>
      <dgm:spPr/>
      <dgm:t>
        <a:bodyPr/>
        <a:lstStyle/>
        <a:p>
          <a:endParaRPr lang="en-US"/>
        </a:p>
      </dgm:t>
    </dgm:pt>
    <dgm:pt modelId="{0C58F8FF-31E5-4EF6-B1EB-B158FB530E53}">
      <dgm:prSet/>
      <dgm:spPr/>
      <dgm:t>
        <a:bodyPr/>
        <a:lstStyle/>
        <a:p>
          <a:r>
            <a:rPr lang="en-US" b="1" dirty="0" smtClean="0"/>
            <a:t>API</a:t>
          </a:r>
          <a:endParaRPr lang="en-US" b="1" dirty="0"/>
        </a:p>
      </dgm:t>
    </dgm:pt>
    <dgm:pt modelId="{E5BB9957-9A84-46FC-A779-A37F7A05C91D}" type="parTrans" cxnId="{54D2F6A8-BB35-4806-851B-1A5E2629D248}">
      <dgm:prSet/>
      <dgm:spPr/>
      <dgm:t>
        <a:bodyPr/>
        <a:lstStyle/>
        <a:p>
          <a:endParaRPr lang="en-US"/>
        </a:p>
      </dgm:t>
    </dgm:pt>
    <dgm:pt modelId="{0AF38840-D009-42DD-BE52-C48BFB2BCA25}" type="sibTrans" cxnId="{54D2F6A8-BB35-4806-851B-1A5E2629D248}">
      <dgm:prSet/>
      <dgm:spPr/>
      <dgm:t>
        <a:bodyPr/>
        <a:lstStyle/>
        <a:p>
          <a:endParaRPr lang="en-US"/>
        </a:p>
      </dgm:t>
    </dgm:pt>
    <dgm:pt modelId="{9D9B3B44-A7F2-469B-AAEB-5179129D1E52}">
      <dgm:prSet/>
      <dgm:spPr/>
      <dgm:t>
        <a:bodyPr/>
        <a:lstStyle/>
        <a:p>
          <a:r>
            <a:rPr lang="en-US" b="1" dirty="0" smtClean="0"/>
            <a:t>Mainframe</a:t>
          </a:r>
          <a:endParaRPr lang="en-US" b="1" dirty="0"/>
        </a:p>
      </dgm:t>
    </dgm:pt>
    <dgm:pt modelId="{E6CE6380-2578-4A21-AD21-0776F465D3A9}" type="parTrans" cxnId="{37688D07-A09D-415E-BA77-3521D6D2ABC4}">
      <dgm:prSet/>
      <dgm:spPr/>
      <dgm:t>
        <a:bodyPr/>
        <a:lstStyle/>
        <a:p>
          <a:endParaRPr lang="en-US"/>
        </a:p>
      </dgm:t>
    </dgm:pt>
    <dgm:pt modelId="{80E2394A-4A92-4FE4-B363-889FC0CA97B2}" type="sibTrans" cxnId="{37688D07-A09D-415E-BA77-3521D6D2ABC4}">
      <dgm:prSet/>
      <dgm:spPr/>
      <dgm:t>
        <a:bodyPr/>
        <a:lstStyle/>
        <a:p>
          <a:endParaRPr lang="en-US"/>
        </a:p>
      </dgm:t>
    </dgm:pt>
    <dgm:pt modelId="{C6491603-2C23-4F96-98C0-46A6D59CF382}">
      <dgm:prSet custT="1"/>
      <dgm:spPr/>
      <dgm:t>
        <a:bodyPr/>
        <a:lstStyle/>
        <a:p>
          <a:r>
            <a:rPr lang="en-US" sz="1050" b="1" dirty="0" smtClean="0"/>
            <a:t>Test Case 1</a:t>
          </a:r>
          <a:endParaRPr lang="en-US" sz="1050" b="1" dirty="0"/>
        </a:p>
      </dgm:t>
    </dgm:pt>
    <dgm:pt modelId="{FC1673A5-4AAA-4147-BE2F-ED7B8BD4B22F}" type="parTrans" cxnId="{C94DD40B-CC25-4153-BAF8-35FC595A42E7}">
      <dgm:prSet/>
      <dgm:spPr/>
      <dgm:t>
        <a:bodyPr/>
        <a:lstStyle/>
        <a:p>
          <a:endParaRPr lang="en-US"/>
        </a:p>
      </dgm:t>
    </dgm:pt>
    <dgm:pt modelId="{6B6CF7B5-C9B5-490E-9D10-F5898B37DD73}" type="sibTrans" cxnId="{C94DD40B-CC25-4153-BAF8-35FC595A42E7}">
      <dgm:prSet/>
      <dgm:spPr/>
      <dgm:t>
        <a:bodyPr/>
        <a:lstStyle/>
        <a:p>
          <a:endParaRPr lang="en-US"/>
        </a:p>
      </dgm:t>
    </dgm:pt>
    <dgm:pt modelId="{97942DED-FACD-48BF-BF08-D4F338DEE827}">
      <dgm:prSet custT="1"/>
      <dgm:spPr/>
      <dgm:t>
        <a:bodyPr/>
        <a:lstStyle/>
        <a:p>
          <a:r>
            <a:rPr lang="en-US" sz="1050" b="1" dirty="0" smtClean="0"/>
            <a:t>Test Case 2</a:t>
          </a:r>
          <a:endParaRPr lang="en-US" sz="1050" b="1" dirty="0"/>
        </a:p>
      </dgm:t>
    </dgm:pt>
    <dgm:pt modelId="{DA512A21-B506-4FE0-A89C-78CE72C811AF}" type="parTrans" cxnId="{50948901-18E5-4240-8B0B-271A49D03F00}">
      <dgm:prSet/>
      <dgm:spPr/>
      <dgm:t>
        <a:bodyPr/>
        <a:lstStyle/>
        <a:p>
          <a:endParaRPr lang="en-US"/>
        </a:p>
      </dgm:t>
    </dgm:pt>
    <dgm:pt modelId="{F5527348-07F8-44E2-97F0-DF1642F08E46}" type="sibTrans" cxnId="{50948901-18E5-4240-8B0B-271A49D03F00}">
      <dgm:prSet/>
      <dgm:spPr/>
      <dgm:t>
        <a:bodyPr/>
        <a:lstStyle/>
        <a:p>
          <a:endParaRPr lang="en-US"/>
        </a:p>
      </dgm:t>
    </dgm:pt>
    <dgm:pt modelId="{0DD82AF8-14B1-46DB-9664-F3834BF1FBE7}">
      <dgm:prSet custT="1"/>
      <dgm:spPr/>
      <dgm:t>
        <a:bodyPr/>
        <a:lstStyle/>
        <a:p>
          <a:r>
            <a:rPr lang="en-US" sz="1050" b="1" dirty="0" smtClean="0"/>
            <a:t>Test Case 3</a:t>
          </a:r>
          <a:endParaRPr lang="en-US" sz="1050" b="1" dirty="0"/>
        </a:p>
      </dgm:t>
    </dgm:pt>
    <dgm:pt modelId="{4A8D8962-6EF6-45CC-BB51-8DB079220F22}" type="parTrans" cxnId="{8E398AC3-3E1D-4BC3-835F-627E69D1CF1F}">
      <dgm:prSet/>
      <dgm:spPr/>
      <dgm:t>
        <a:bodyPr/>
        <a:lstStyle/>
        <a:p>
          <a:endParaRPr lang="en-US"/>
        </a:p>
      </dgm:t>
    </dgm:pt>
    <dgm:pt modelId="{2EEC77C8-CBA3-42B1-8C07-5A85FFA05259}" type="sibTrans" cxnId="{8E398AC3-3E1D-4BC3-835F-627E69D1CF1F}">
      <dgm:prSet/>
      <dgm:spPr/>
      <dgm:t>
        <a:bodyPr/>
        <a:lstStyle/>
        <a:p>
          <a:endParaRPr lang="en-US"/>
        </a:p>
      </dgm:t>
    </dgm:pt>
    <dgm:pt modelId="{6EB23698-3D8C-47EF-B3EC-A6F4CDB0494B}" type="pres">
      <dgm:prSet presAssocID="{AC188C3F-4E06-487E-A3D7-DABB5AFF202F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C0881E67-9E99-4DE0-97CF-DE22C4A3786F}" type="pres">
      <dgm:prSet presAssocID="{1760B560-2E55-4D9A-9671-0155FA6070AE}" presName="hierRoot1" presStyleCnt="0"/>
      <dgm:spPr/>
    </dgm:pt>
    <dgm:pt modelId="{4F83FEE5-48E3-4B3A-8B16-095DA5BC0481}" type="pres">
      <dgm:prSet presAssocID="{1760B560-2E55-4D9A-9671-0155FA6070AE}" presName="composite" presStyleCnt="0"/>
      <dgm:spPr/>
    </dgm:pt>
    <dgm:pt modelId="{A01B631D-1405-4915-90B3-651EFC7B61C2}" type="pres">
      <dgm:prSet presAssocID="{1760B560-2E55-4D9A-9671-0155FA6070AE}" presName="background" presStyleLbl="node0" presStyleIdx="0" presStyleCnt="1"/>
      <dgm:spPr/>
    </dgm:pt>
    <dgm:pt modelId="{AE8972F5-056A-4084-8DFF-9CB469BBE60E}" type="pres">
      <dgm:prSet presAssocID="{1760B560-2E55-4D9A-9671-0155FA6070AE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EA27BBE-085C-49BD-8523-A9A467A73DB1}" type="pres">
      <dgm:prSet presAssocID="{1760B560-2E55-4D9A-9671-0155FA6070AE}" presName="hierChild2" presStyleCnt="0"/>
      <dgm:spPr/>
    </dgm:pt>
    <dgm:pt modelId="{AEA6A18C-FBE5-49D8-B2C4-03BC08EB36F3}" type="pres">
      <dgm:prSet presAssocID="{33546020-90D8-4728-99F9-93191ACF8EC0}" presName="Name10" presStyleLbl="parChTrans1D2" presStyleIdx="0" presStyleCnt="2"/>
      <dgm:spPr/>
      <dgm:t>
        <a:bodyPr/>
        <a:lstStyle/>
        <a:p>
          <a:endParaRPr lang="en-US"/>
        </a:p>
      </dgm:t>
    </dgm:pt>
    <dgm:pt modelId="{6DE0748B-569A-4E9A-8D0E-0838C9AF4966}" type="pres">
      <dgm:prSet presAssocID="{F26CEC92-F982-4A5A-8C5E-152FF3C500A9}" presName="hierRoot2" presStyleCnt="0"/>
      <dgm:spPr/>
    </dgm:pt>
    <dgm:pt modelId="{9650625E-F485-44D4-A59E-73B54C60E32B}" type="pres">
      <dgm:prSet presAssocID="{F26CEC92-F982-4A5A-8C5E-152FF3C500A9}" presName="composite2" presStyleCnt="0"/>
      <dgm:spPr/>
    </dgm:pt>
    <dgm:pt modelId="{BF9BC418-D44B-4B14-B2C5-BC63219C9B84}" type="pres">
      <dgm:prSet presAssocID="{F26CEC92-F982-4A5A-8C5E-152FF3C500A9}" presName="background2" presStyleLbl="node2" presStyleIdx="0" presStyleCnt="2"/>
      <dgm:spPr/>
    </dgm:pt>
    <dgm:pt modelId="{DC78E0B6-0DA7-46A8-A652-603D72A27D8A}" type="pres">
      <dgm:prSet presAssocID="{F26CEC92-F982-4A5A-8C5E-152FF3C500A9}" presName="text2" presStyleLbl="fgAcc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86E24D9-9763-4666-B78C-95E72BBE004D}" type="pres">
      <dgm:prSet presAssocID="{F26CEC92-F982-4A5A-8C5E-152FF3C500A9}" presName="hierChild3" presStyleCnt="0"/>
      <dgm:spPr/>
    </dgm:pt>
    <dgm:pt modelId="{8B817B88-0E43-478E-9F38-DF98A8A22E42}" type="pres">
      <dgm:prSet presAssocID="{80E59671-DFF1-4FD9-8BBC-87ABC7D1CF8C}" presName="Name17" presStyleLbl="parChTrans1D3" presStyleIdx="0" presStyleCnt="3"/>
      <dgm:spPr/>
      <dgm:t>
        <a:bodyPr/>
        <a:lstStyle/>
        <a:p>
          <a:endParaRPr lang="en-US"/>
        </a:p>
      </dgm:t>
    </dgm:pt>
    <dgm:pt modelId="{2E875161-F8B6-42C3-97D2-A119270029B2}" type="pres">
      <dgm:prSet presAssocID="{72931B5D-72BF-4714-B7CB-FF06F48F1301}" presName="hierRoot3" presStyleCnt="0"/>
      <dgm:spPr/>
    </dgm:pt>
    <dgm:pt modelId="{425032EC-67E4-4C85-A45A-289AA88CC56C}" type="pres">
      <dgm:prSet presAssocID="{72931B5D-72BF-4714-B7CB-FF06F48F1301}" presName="composite3" presStyleCnt="0"/>
      <dgm:spPr/>
    </dgm:pt>
    <dgm:pt modelId="{C44BA615-EA9A-4798-B82F-5513D7CB9146}" type="pres">
      <dgm:prSet presAssocID="{72931B5D-72BF-4714-B7CB-FF06F48F1301}" presName="background3" presStyleLbl="node3" presStyleIdx="0" presStyleCnt="3"/>
      <dgm:spPr/>
    </dgm:pt>
    <dgm:pt modelId="{B78583F3-F0A8-4342-92C6-ED99099CEE12}" type="pres">
      <dgm:prSet presAssocID="{72931B5D-72BF-4714-B7CB-FF06F48F1301}" presName="text3" presStyleLbl="fgAcc3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998914B-A33F-49E3-AD0C-9664440590E9}" type="pres">
      <dgm:prSet presAssocID="{72931B5D-72BF-4714-B7CB-FF06F48F1301}" presName="hierChild4" presStyleCnt="0"/>
      <dgm:spPr/>
    </dgm:pt>
    <dgm:pt modelId="{AAD28E41-32E8-40EE-9860-17D87A46D489}" type="pres">
      <dgm:prSet presAssocID="{FC1673A5-4AAA-4147-BE2F-ED7B8BD4B22F}" presName="Name23" presStyleLbl="parChTrans1D4" presStyleIdx="0" presStyleCnt="3"/>
      <dgm:spPr/>
      <dgm:t>
        <a:bodyPr/>
        <a:lstStyle/>
        <a:p>
          <a:endParaRPr lang="en-US"/>
        </a:p>
      </dgm:t>
    </dgm:pt>
    <dgm:pt modelId="{69FA9921-5986-468C-992E-F610F1410218}" type="pres">
      <dgm:prSet presAssocID="{C6491603-2C23-4F96-98C0-46A6D59CF382}" presName="hierRoot4" presStyleCnt="0"/>
      <dgm:spPr/>
    </dgm:pt>
    <dgm:pt modelId="{1ECB64BE-8620-4237-AD5F-B489387C6272}" type="pres">
      <dgm:prSet presAssocID="{C6491603-2C23-4F96-98C0-46A6D59CF382}" presName="composite4" presStyleCnt="0"/>
      <dgm:spPr/>
    </dgm:pt>
    <dgm:pt modelId="{DAFECBD9-4647-4E92-9EAD-650ABB1DCB8C}" type="pres">
      <dgm:prSet presAssocID="{C6491603-2C23-4F96-98C0-46A6D59CF382}" presName="background4" presStyleLbl="node4" presStyleIdx="0" presStyleCnt="3"/>
      <dgm:spPr/>
    </dgm:pt>
    <dgm:pt modelId="{72BB4682-5667-49BD-B916-6E7BB6B8C1FB}" type="pres">
      <dgm:prSet presAssocID="{C6491603-2C23-4F96-98C0-46A6D59CF382}" presName="text4" presStyleLbl="fgAcc4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B90F359-6D62-431D-80FE-89E2C86F022A}" type="pres">
      <dgm:prSet presAssocID="{C6491603-2C23-4F96-98C0-46A6D59CF382}" presName="hierChild5" presStyleCnt="0"/>
      <dgm:spPr/>
    </dgm:pt>
    <dgm:pt modelId="{908A1B1A-A42F-49ED-A91C-C074DE017100}" type="pres">
      <dgm:prSet presAssocID="{DA512A21-B506-4FE0-A89C-78CE72C811AF}" presName="Name23" presStyleLbl="parChTrans1D4" presStyleIdx="1" presStyleCnt="3"/>
      <dgm:spPr/>
      <dgm:t>
        <a:bodyPr/>
        <a:lstStyle/>
        <a:p>
          <a:endParaRPr lang="en-US"/>
        </a:p>
      </dgm:t>
    </dgm:pt>
    <dgm:pt modelId="{FF4323D8-B60F-44BE-900F-3CA8E7A22A16}" type="pres">
      <dgm:prSet presAssocID="{97942DED-FACD-48BF-BF08-D4F338DEE827}" presName="hierRoot4" presStyleCnt="0"/>
      <dgm:spPr/>
    </dgm:pt>
    <dgm:pt modelId="{06D1CD7B-982A-4556-8662-7380D91B5E50}" type="pres">
      <dgm:prSet presAssocID="{97942DED-FACD-48BF-BF08-D4F338DEE827}" presName="composite4" presStyleCnt="0"/>
      <dgm:spPr/>
    </dgm:pt>
    <dgm:pt modelId="{2A88790D-8EF1-442C-BE35-FE72557C8DE9}" type="pres">
      <dgm:prSet presAssocID="{97942DED-FACD-48BF-BF08-D4F338DEE827}" presName="background4" presStyleLbl="node4" presStyleIdx="1" presStyleCnt="3"/>
      <dgm:spPr/>
    </dgm:pt>
    <dgm:pt modelId="{D50DA171-5FFF-48E8-B688-0775883163F8}" type="pres">
      <dgm:prSet presAssocID="{97942DED-FACD-48BF-BF08-D4F338DEE827}" presName="text4" presStyleLbl="fgAcc4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283CC03-6539-456C-A602-2765A156A264}" type="pres">
      <dgm:prSet presAssocID="{97942DED-FACD-48BF-BF08-D4F338DEE827}" presName="hierChild5" presStyleCnt="0"/>
      <dgm:spPr/>
    </dgm:pt>
    <dgm:pt modelId="{299BBE9F-705D-4D36-B590-93833830BBC1}" type="pres">
      <dgm:prSet presAssocID="{4A8D8962-6EF6-45CC-BB51-8DB079220F22}" presName="Name23" presStyleLbl="parChTrans1D4" presStyleIdx="2" presStyleCnt="3"/>
      <dgm:spPr/>
      <dgm:t>
        <a:bodyPr/>
        <a:lstStyle/>
        <a:p>
          <a:endParaRPr lang="en-US"/>
        </a:p>
      </dgm:t>
    </dgm:pt>
    <dgm:pt modelId="{7DA2C8DD-0093-4AAE-83A0-C5AF32CD354E}" type="pres">
      <dgm:prSet presAssocID="{0DD82AF8-14B1-46DB-9664-F3834BF1FBE7}" presName="hierRoot4" presStyleCnt="0"/>
      <dgm:spPr/>
    </dgm:pt>
    <dgm:pt modelId="{C2911291-A902-4356-A50A-D3E0346BA36E}" type="pres">
      <dgm:prSet presAssocID="{0DD82AF8-14B1-46DB-9664-F3834BF1FBE7}" presName="composite4" presStyleCnt="0"/>
      <dgm:spPr/>
    </dgm:pt>
    <dgm:pt modelId="{224019A6-7750-416F-8F2D-03BB2CE7F5E0}" type="pres">
      <dgm:prSet presAssocID="{0DD82AF8-14B1-46DB-9664-F3834BF1FBE7}" presName="background4" presStyleLbl="node4" presStyleIdx="2" presStyleCnt="3"/>
      <dgm:spPr/>
    </dgm:pt>
    <dgm:pt modelId="{91404C66-F3C6-4F0D-8F25-62D785A8A209}" type="pres">
      <dgm:prSet presAssocID="{0DD82AF8-14B1-46DB-9664-F3834BF1FBE7}" presName="text4" presStyleLbl="fgAcc4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7552768-4754-4B9C-B228-5972B1D417D6}" type="pres">
      <dgm:prSet presAssocID="{0DD82AF8-14B1-46DB-9664-F3834BF1FBE7}" presName="hierChild5" presStyleCnt="0"/>
      <dgm:spPr/>
    </dgm:pt>
    <dgm:pt modelId="{0ABDFCCE-978E-4797-A4EB-49AB792DC10F}" type="pres">
      <dgm:prSet presAssocID="{E5BB9957-9A84-46FC-A779-A37F7A05C91D}" presName="Name17" presStyleLbl="parChTrans1D3" presStyleIdx="1" presStyleCnt="3"/>
      <dgm:spPr/>
      <dgm:t>
        <a:bodyPr/>
        <a:lstStyle/>
        <a:p>
          <a:endParaRPr lang="en-US"/>
        </a:p>
      </dgm:t>
    </dgm:pt>
    <dgm:pt modelId="{B43AAC07-78C0-42B2-92B8-42333B212980}" type="pres">
      <dgm:prSet presAssocID="{0C58F8FF-31E5-4EF6-B1EB-B158FB530E53}" presName="hierRoot3" presStyleCnt="0"/>
      <dgm:spPr/>
    </dgm:pt>
    <dgm:pt modelId="{BBACF7A7-C85E-42E5-808D-315B11543673}" type="pres">
      <dgm:prSet presAssocID="{0C58F8FF-31E5-4EF6-B1EB-B158FB530E53}" presName="composite3" presStyleCnt="0"/>
      <dgm:spPr/>
    </dgm:pt>
    <dgm:pt modelId="{9B35C83C-DC2E-4FD7-8126-800C0E625CE1}" type="pres">
      <dgm:prSet presAssocID="{0C58F8FF-31E5-4EF6-B1EB-B158FB530E53}" presName="background3" presStyleLbl="node3" presStyleIdx="1" presStyleCnt="3"/>
      <dgm:spPr/>
    </dgm:pt>
    <dgm:pt modelId="{6F3E3676-EFDF-431F-A175-403CD2A616CB}" type="pres">
      <dgm:prSet presAssocID="{0C58F8FF-31E5-4EF6-B1EB-B158FB530E53}" presName="text3" presStyleLbl="fgAcc3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5E09E87-4DC1-46D1-8440-185A7CD2CB1A}" type="pres">
      <dgm:prSet presAssocID="{0C58F8FF-31E5-4EF6-B1EB-B158FB530E53}" presName="hierChild4" presStyleCnt="0"/>
      <dgm:spPr/>
    </dgm:pt>
    <dgm:pt modelId="{0ECF736A-AF12-40EE-BD49-486480FCD511}" type="pres">
      <dgm:prSet presAssocID="{E6CE6380-2578-4A21-AD21-0776F465D3A9}" presName="Name17" presStyleLbl="parChTrans1D3" presStyleIdx="2" presStyleCnt="3"/>
      <dgm:spPr/>
      <dgm:t>
        <a:bodyPr/>
        <a:lstStyle/>
        <a:p>
          <a:endParaRPr lang="en-US"/>
        </a:p>
      </dgm:t>
    </dgm:pt>
    <dgm:pt modelId="{D942127C-E19C-4E63-B292-F0A2FEE4F330}" type="pres">
      <dgm:prSet presAssocID="{9D9B3B44-A7F2-469B-AAEB-5179129D1E52}" presName="hierRoot3" presStyleCnt="0"/>
      <dgm:spPr/>
    </dgm:pt>
    <dgm:pt modelId="{98AE54BB-BAD1-4A71-B528-2AC25BC80865}" type="pres">
      <dgm:prSet presAssocID="{9D9B3B44-A7F2-469B-AAEB-5179129D1E52}" presName="composite3" presStyleCnt="0"/>
      <dgm:spPr/>
    </dgm:pt>
    <dgm:pt modelId="{606B1C79-FB29-43CE-8F4A-FFFB1EDCBDBA}" type="pres">
      <dgm:prSet presAssocID="{9D9B3B44-A7F2-469B-AAEB-5179129D1E52}" presName="background3" presStyleLbl="node3" presStyleIdx="2" presStyleCnt="3"/>
      <dgm:spPr/>
    </dgm:pt>
    <dgm:pt modelId="{7C29BC9C-E51F-442B-B970-1FFACE87E1BD}" type="pres">
      <dgm:prSet presAssocID="{9D9B3B44-A7F2-469B-AAEB-5179129D1E52}" presName="text3" presStyleLbl="fgAcc3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435D31B-DE47-4E21-9BF9-E9567B4CBD40}" type="pres">
      <dgm:prSet presAssocID="{9D9B3B44-A7F2-469B-AAEB-5179129D1E52}" presName="hierChild4" presStyleCnt="0"/>
      <dgm:spPr/>
    </dgm:pt>
    <dgm:pt modelId="{A0C3FC59-DEE0-4176-9E9B-98D5F05E0F6E}" type="pres">
      <dgm:prSet presAssocID="{420377E6-1260-4950-A3D4-ED85F418FC1F}" presName="Name10" presStyleLbl="parChTrans1D2" presStyleIdx="1" presStyleCnt="2"/>
      <dgm:spPr/>
      <dgm:t>
        <a:bodyPr/>
        <a:lstStyle/>
        <a:p>
          <a:endParaRPr lang="en-US"/>
        </a:p>
      </dgm:t>
    </dgm:pt>
    <dgm:pt modelId="{6755F2A8-183D-4158-9BE8-2A16345D148E}" type="pres">
      <dgm:prSet presAssocID="{733A9DAD-8C76-457C-A0C8-E5F447E36EA6}" presName="hierRoot2" presStyleCnt="0"/>
      <dgm:spPr/>
    </dgm:pt>
    <dgm:pt modelId="{E19CB031-2B00-40C6-BC9E-B66C69972F44}" type="pres">
      <dgm:prSet presAssocID="{733A9DAD-8C76-457C-A0C8-E5F447E36EA6}" presName="composite2" presStyleCnt="0"/>
      <dgm:spPr/>
    </dgm:pt>
    <dgm:pt modelId="{721C7E2B-1E13-473D-A745-CD84C6F13674}" type="pres">
      <dgm:prSet presAssocID="{733A9DAD-8C76-457C-A0C8-E5F447E36EA6}" presName="background2" presStyleLbl="node2" presStyleIdx="1" presStyleCnt="2"/>
      <dgm:spPr/>
    </dgm:pt>
    <dgm:pt modelId="{B33A834D-D1FA-47F9-BB71-322801EB6D9D}" type="pres">
      <dgm:prSet presAssocID="{733A9DAD-8C76-457C-A0C8-E5F447E36EA6}" presName="text2" presStyleLbl="fgAcc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2FCF269-4AF7-4A3B-887A-90ECFE6B1A83}" type="pres">
      <dgm:prSet presAssocID="{733A9DAD-8C76-457C-A0C8-E5F447E36EA6}" presName="hierChild3" presStyleCnt="0"/>
      <dgm:spPr/>
    </dgm:pt>
  </dgm:ptLst>
  <dgm:cxnLst>
    <dgm:cxn modelId="{8E398AC3-3E1D-4BC3-835F-627E69D1CF1F}" srcId="{97942DED-FACD-48BF-BF08-D4F338DEE827}" destId="{0DD82AF8-14B1-46DB-9664-F3834BF1FBE7}" srcOrd="0" destOrd="0" parTransId="{4A8D8962-6EF6-45CC-BB51-8DB079220F22}" sibTransId="{2EEC77C8-CBA3-42B1-8C07-5A85FFA05259}"/>
    <dgm:cxn modelId="{02D0E2A0-B875-4519-B0C7-1D1F7A95A024}" type="presOf" srcId="{DA512A21-B506-4FE0-A89C-78CE72C811AF}" destId="{908A1B1A-A42F-49ED-A91C-C074DE017100}" srcOrd="0" destOrd="0" presId="urn:microsoft.com/office/officeart/2005/8/layout/hierarchy1"/>
    <dgm:cxn modelId="{2AC0AEFB-7D45-41F7-9921-7C541E69AE0C}" type="presOf" srcId="{33546020-90D8-4728-99F9-93191ACF8EC0}" destId="{AEA6A18C-FBE5-49D8-B2C4-03BC08EB36F3}" srcOrd="0" destOrd="0" presId="urn:microsoft.com/office/officeart/2005/8/layout/hierarchy1"/>
    <dgm:cxn modelId="{E4A20B2F-0551-4229-9BD4-3788B5AFC929}" type="presOf" srcId="{4A8D8962-6EF6-45CC-BB51-8DB079220F22}" destId="{299BBE9F-705D-4D36-B590-93833830BBC1}" srcOrd="0" destOrd="0" presId="urn:microsoft.com/office/officeart/2005/8/layout/hierarchy1"/>
    <dgm:cxn modelId="{0B71E213-F4C3-48DD-A3EB-9200161DB836}" type="presOf" srcId="{E6CE6380-2578-4A21-AD21-0776F465D3A9}" destId="{0ECF736A-AF12-40EE-BD49-486480FCD511}" srcOrd="0" destOrd="0" presId="urn:microsoft.com/office/officeart/2005/8/layout/hierarchy1"/>
    <dgm:cxn modelId="{F3279497-0C4A-49AB-B2C5-E30503375A15}" srcId="{1760B560-2E55-4D9A-9671-0155FA6070AE}" destId="{F26CEC92-F982-4A5A-8C5E-152FF3C500A9}" srcOrd="0" destOrd="0" parTransId="{33546020-90D8-4728-99F9-93191ACF8EC0}" sibTransId="{AF227F58-5192-4A07-83F3-77F582140876}"/>
    <dgm:cxn modelId="{C94DD40B-CC25-4153-BAF8-35FC595A42E7}" srcId="{72931B5D-72BF-4714-B7CB-FF06F48F1301}" destId="{C6491603-2C23-4F96-98C0-46A6D59CF382}" srcOrd="0" destOrd="0" parTransId="{FC1673A5-4AAA-4147-BE2F-ED7B8BD4B22F}" sibTransId="{6B6CF7B5-C9B5-490E-9D10-F5898B37DD73}"/>
    <dgm:cxn modelId="{B7178B9A-92E9-49A1-BEA5-D80C9745DCCB}" srcId="{1760B560-2E55-4D9A-9671-0155FA6070AE}" destId="{733A9DAD-8C76-457C-A0C8-E5F447E36EA6}" srcOrd="1" destOrd="0" parTransId="{420377E6-1260-4950-A3D4-ED85F418FC1F}" sibTransId="{190FAFB8-A12E-4BD8-8ABE-57011822AF10}"/>
    <dgm:cxn modelId="{BC727052-6A63-4795-84E6-08D68F58A095}" type="presOf" srcId="{1760B560-2E55-4D9A-9671-0155FA6070AE}" destId="{AE8972F5-056A-4084-8DFF-9CB469BBE60E}" srcOrd="0" destOrd="0" presId="urn:microsoft.com/office/officeart/2005/8/layout/hierarchy1"/>
    <dgm:cxn modelId="{ECB3B090-7D03-406F-B1B1-6E98B9D0298C}" type="presOf" srcId="{FC1673A5-4AAA-4147-BE2F-ED7B8BD4B22F}" destId="{AAD28E41-32E8-40EE-9860-17D87A46D489}" srcOrd="0" destOrd="0" presId="urn:microsoft.com/office/officeart/2005/8/layout/hierarchy1"/>
    <dgm:cxn modelId="{FE053983-8999-4587-8279-5ADA63D3E71C}" type="presOf" srcId="{0DD82AF8-14B1-46DB-9664-F3834BF1FBE7}" destId="{91404C66-F3C6-4F0D-8F25-62D785A8A209}" srcOrd="0" destOrd="0" presId="urn:microsoft.com/office/officeart/2005/8/layout/hierarchy1"/>
    <dgm:cxn modelId="{F17416FE-730D-429B-873E-15F44A204D18}" type="presOf" srcId="{733A9DAD-8C76-457C-A0C8-E5F447E36EA6}" destId="{B33A834D-D1FA-47F9-BB71-322801EB6D9D}" srcOrd="0" destOrd="0" presId="urn:microsoft.com/office/officeart/2005/8/layout/hierarchy1"/>
    <dgm:cxn modelId="{5F28EE40-889F-4E7F-B383-6719336B243F}" srcId="{F26CEC92-F982-4A5A-8C5E-152FF3C500A9}" destId="{72931B5D-72BF-4714-B7CB-FF06F48F1301}" srcOrd="0" destOrd="0" parTransId="{80E59671-DFF1-4FD9-8BBC-87ABC7D1CF8C}" sibTransId="{734DC57A-C0F9-4381-8D7D-84144BC58DEF}"/>
    <dgm:cxn modelId="{5549E659-3B69-40A8-812C-54874F81ECE4}" type="presOf" srcId="{AC188C3F-4E06-487E-A3D7-DABB5AFF202F}" destId="{6EB23698-3D8C-47EF-B3EC-A6F4CDB0494B}" srcOrd="0" destOrd="0" presId="urn:microsoft.com/office/officeart/2005/8/layout/hierarchy1"/>
    <dgm:cxn modelId="{37688D07-A09D-415E-BA77-3521D6D2ABC4}" srcId="{F26CEC92-F982-4A5A-8C5E-152FF3C500A9}" destId="{9D9B3B44-A7F2-469B-AAEB-5179129D1E52}" srcOrd="2" destOrd="0" parTransId="{E6CE6380-2578-4A21-AD21-0776F465D3A9}" sibTransId="{80E2394A-4A92-4FE4-B363-889FC0CA97B2}"/>
    <dgm:cxn modelId="{CDD19946-A090-45B9-BDF7-422735D9ED07}" type="presOf" srcId="{72931B5D-72BF-4714-B7CB-FF06F48F1301}" destId="{B78583F3-F0A8-4342-92C6-ED99099CEE12}" srcOrd="0" destOrd="0" presId="urn:microsoft.com/office/officeart/2005/8/layout/hierarchy1"/>
    <dgm:cxn modelId="{50948901-18E5-4240-8B0B-271A49D03F00}" srcId="{C6491603-2C23-4F96-98C0-46A6D59CF382}" destId="{97942DED-FACD-48BF-BF08-D4F338DEE827}" srcOrd="0" destOrd="0" parTransId="{DA512A21-B506-4FE0-A89C-78CE72C811AF}" sibTransId="{F5527348-07F8-44E2-97F0-DF1642F08E46}"/>
    <dgm:cxn modelId="{9629A6C6-2DCD-4543-A3C9-25C91B56ED26}" type="presOf" srcId="{0C58F8FF-31E5-4EF6-B1EB-B158FB530E53}" destId="{6F3E3676-EFDF-431F-A175-403CD2A616CB}" srcOrd="0" destOrd="0" presId="urn:microsoft.com/office/officeart/2005/8/layout/hierarchy1"/>
    <dgm:cxn modelId="{2876CAA7-8D38-450F-BBD5-DC350FA4C08E}" type="presOf" srcId="{80E59671-DFF1-4FD9-8BBC-87ABC7D1CF8C}" destId="{8B817B88-0E43-478E-9F38-DF98A8A22E42}" srcOrd="0" destOrd="0" presId="urn:microsoft.com/office/officeart/2005/8/layout/hierarchy1"/>
    <dgm:cxn modelId="{587CA604-D88F-494F-B237-7010983977EF}" type="presOf" srcId="{420377E6-1260-4950-A3D4-ED85F418FC1F}" destId="{A0C3FC59-DEE0-4176-9E9B-98D5F05E0F6E}" srcOrd="0" destOrd="0" presId="urn:microsoft.com/office/officeart/2005/8/layout/hierarchy1"/>
    <dgm:cxn modelId="{F2253091-38B9-49B8-AD9D-22DE25BDC469}" type="presOf" srcId="{C6491603-2C23-4F96-98C0-46A6D59CF382}" destId="{72BB4682-5667-49BD-B916-6E7BB6B8C1FB}" srcOrd="0" destOrd="0" presId="urn:microsoft.com/office/officeart/2005/8/layout/hierarchy1"/>
    <dgm:cxn modelId="{54D2F6A8-BB35-4806-851B-1A5E2629D248}" srcId="{F26CEC92-F982-4A5A-8C5E-152FF3C500A9}" destId="{0C58F8FF-31E5-4EF6-B1EB-B158FB530E53}" srcOrd="1" destOrd="0" parTransId="{E5BB9957-9A84-46FC-A779-A37F7A05C91D}" sibTransId="{0AF38840-D009-42DD-BE52-C48BFB2BCA25}"/>
    <dgm:cxn modelId="{3CF280F8-D738-45C6-AD68-C88C6F3F185E}" type="presOf" srcId="{E5BB9957-9A84-46FC-A779-A37F7A05C91D}" destId="{0ABDFCCE-978E-4797-A4EB-49AB792DC10F}" srcOrd="0" destOrd="0" presId="urn:microsoft.com/office/officeart/2005/8/layout/hierarchy1"/>
    <dgm:cxn modelId="{EC4A889C-C28B-4D40-A59B-FA81B1785C58}" srcId="{AC188C3F-4E06-487E-A3D7-DABB5AFF202F}" destId="{1760B560-2E55-4D9A-9671-0155FA6070AE}" srcOrd="0" destOrd="0" parTransId="{6715957C-71DD-4D10-A240-C9213572AE80}" sibTransId="{01E5DE01-22E4-47E5-BC6D-85D40EB2D0E0}"/>
    <dgm:cxn modelId="{8FFAED3B-CA0D-4623-9591-63DFADF848BC}" type="presOf" srcId="{F26CEC92-F982-4A5A-8C5E-152FF3C500A9}" destId="{DC78E0B6-0DA7-46A8-A652-603D72A27D8A}" srcOrd="0" destOrd="0" presId="urn:microsoft.com/office/officeart/2005/8/layout/hierarchy1"/>
    <dgm:cxn modelId="{11B3629E-50F6-4186-A258-A18DDAA8CD36}" type="presOf" srcId="{9D9B3B44-A7F2-469B-AAEB-5179129D1E52}" destId="{7C29BC9C-E51F-442B-B970-1FFACE87E1BD}" srcOrd="0" destOrd="0" presId="urn:microsoft.com/office/officeart/2005/8/layout/hierarchy1"/>
    <dgm:cxn modelId="{2D37C1D0-EEB4-4AC4-A245-10F01190A57D}" type="presOf" srcId="{97942DED-FACD-48BF-BF08-D4F338DEE827}" destId="{D50DA171-5FFF-48E8-B688-0775883163F8}" srcOrd="0" destOrd="0" presId="urn:microsoft.com/office/officeart/2005/8/layout/hierarchy1"/>
    <dgm:cxn modelId="{D49D4856-2951-414D-A79F-BFBC2C8376A1}" type="presParOf" srcId="{6EB23698-3D8C-47EF-B3EC-A6F4CDB0494B}" destId="{C0881E67-9E99-4DE0-97CF-DE22C4A3786F}" srcOrd="0" destOrd="0" presId="urn:microsoft.com/office/officeart/2005/8/layout/hierarchy1"/>
    <dgm:cxn modelId="{F72E7B58-0E2F-44CB-AA16-C98604D50DA0}" type="presParOf" srcId="{C0881E67-9E99-4DE0-97CF-DE22C4A3786F}" destId="{4F83FEE5-48E3-4B3A-8B16-095DA5BC0481}" srcOrd="0" destOrd="0" presId="urn:microsoft.com/office/officeart/2005/8/layout/hierarchy1"/>
    <dgm:cxn modelId="{F1195622-2330-4ED6-9275-D6C29B3AC7AA}" type="presParOf" srcId="{4F83FEE5-48E3-4B3A-8B16-095DA5BC0481}" destId="{A01B631D-1405-4915-90B3-651EFC7B61C2}" srcOrd="0" destOrd="0" presId="urn:microsoft.com/office/officeart/2005/8/layout/hierarchy1"/>
    <dgm:cxn modelId="{CA16B740-9349-425A-AE19-4B3809537D10}" type="presParOf" srcId="{4F83FEE5-48E3-4B3A-8B16-095DA5BC0481}" destId="{AE8972F5-056A-4084-8DFF-9CB469BBE60E}" srcOrd="1" destOrd="0" presId="urn:microsoft.com/office/officeart/2005/8/layout/hierarchy1"/>
    <dgm:cxn modelId="{C0D97AFF-35C6-487C-98E2-E2E7AC2C7C6B}" type="presParOf" srcId="{C0881E67-9E99-4DE0-97CF-DE22C4A3786F}" destId="{EEA27BBE-085C-49BD-8523-A9A467A73DB1}" srcOrd="1" destOrd="0" presId="urn:microsoft.com/office/officeart/2005/8/layout/hierarchy1"/>
    <dgm:cxn modelId="{6AEF6DBD-1975-4593-B1BC-7064AA776D6A}" type="presParOf" srcId="{EEA27BBE-085C-49BD-8523-A9A467A73DB1}" destId="{AEA6A18C-FBE5-49D8-B2C4-03BC08EB36F3}" srcOrd="0" destOrd="0" presId="urn:microsoft.com/office/officeart/2005/8/layout/hierarchy1"/>
    <dgm:cxn modelId="{EE4FED54-7CB2-4ECF-8E2D-80D73AD304B9}" type="presParOf" srcId="{EEA27BBE-085C-49BD-8523-A9A467A73DB1}" destId="{6DE0748B-569A-4E9A-8D0E-0838C9AF4966}" srcOrd="1" destOrd="0" presId="urn:microsoft.com/office/officeart/2005/8/layout/hierarchy1"/>
    <dgm:cxn modelId="{5BFC267B-81AA-4982-B7C3-AFF8A2E365FE}" type="presParOf" srcId="{6DE0748B-569A-4E9A-8D0E-0838C9AF4966}" destId="{9650625E-F485-44D4-A59E-73B54C60E32B}" srcOrd="0" destOrd="0" presId="urn:microsoft.com/office/officeart/2005/8/layout/hierarchy1"/>
    <dgm:cxn modelId="{C0B5B275-D166-4ABF-B9AB-9E854606B68E}" type="presParOf" srcId="{9650625E-F485-44D4-A59E-73B54C60E32B}" destId="{BF9BC418-D44B-4B14-B2C5-BC63219C9B84}" srcOrd="0" destOrd="0" presId="urn:microsoft.com/office/officeart/2005/8/layout/hierarchy1"/>
    <dgm:cxn modelId="{E57A511D-F1B9-457B-8A4F-BDE01C373F94}" type="presParOf" srcId="{9650625E-F485-44D4-A59E-73B54C60E32B}" destId="{DC78E0B6-0DA7-46A8-A652-603D72A27D8A}" srcOrd="1" destOrd="0" presId="urn:microsoft.com/office/officeart/2005/8/layout/hierarchy1"/>
    <dgm:cxn modelId="{8336FF9C-C1B2-4840-826F-82D280F67948}" type="presParOf" srcId="{6DE0748B-569A-4E9A-8D0E-0838C9AF4966}" destId="{A86E24D9-9763-4666-B78C-95E72BBE004D}" srcOrd="1" destOrd="0" presId="urn:microsoft.com/office/officeart/2005/8/layout/hierarchy1"/>
    <dgm:cxn modelId="{933229E0-EC9C-4CC7-A6C4-F52B8704F74E}" type="presParOf" srcId="{A86E24D9-9763-4666-B78C-95E72BBE004D}" destId="{8B817B88-0E43-478E-9F38-DF98A8A22E42}" srcOrd="0" destOrd="0" presId="urn:microsoft.com/office/officeart/2005/8/layout/hierarchy1"/>
    <dgm:cxn modelId="{05202D63-A65D-4982-9AEE-75F59F801098}" type="presParOf" srcId="{A86E24D9-9763-4666-B78C-95E72BBE004D}" destId="{2E875161-F8B6-42C3-97D2-A119270029B2}" srcOrd="1" destOrd="0" presId="urn:microsoft.com/office/officeart/2005/8/layout/hierarchy1"/>
    <dgm:cxn modelId="{DE2EA392-8135-4B52-892F-034B90D66F8D}" type="presParOf" srcId="{2E875161-F8B6-42C3-97D2-A119270029B2}" destId="{425032EC-67E4-4C85-A45A-289AA88CC56C}" srcOrd="0" destOrd="0" presId="urn:microsoft.com/office/officeart/2005/8/layout/hierarchy1"/>
    <dgm:cxn modelId="{588614AA-D5F6-491C-B836-2B234B758CB3}" type="presParOf" srcId="{425032EC-67E4-4C85-A45A-289AA88CC56C}" destId="{C44BA615-EA9A-4798-B82F-5513D7CB9146}" srcOrd="0" destOrd="0" presId="urn:microsoft.com/office/officeart/2005/8/layout/hierarchy1"/>
    <dgm:cxn modelId="{577F01F6-9A8F-4858-BAD9-32CED0019520}" type="presParOf" srcId="{425032EC-67E4-4C85-A45A-289AA88CC56C}" destId="{B78583F3-F0A8-4342-92C6-ED99099CEE12}" srcOrd="1" destOrd="0" presId="urn:microsoft.com/office/officeart/2005/8/layout/hierarchy1"/>
    <dgm:cxn modelId="{6D69A754-C4A1-4FCD-BC89-45E9AB1E9931}" type="presParOf" srcId="{2E875161-F8B6-42C3-97D2-A119270029B2}" destId="{E998914B-A33F-49E3-AD0C-9664440590E9}" srcOrd="1" destOrd="0" presId="urn:microsoft.com/office/officeart/2005/8/layout/hierarchy1"/>
    <dgm:cxn modelId="{92E62621-15AE-4635-A9EF-786478D9C490}" type="presParOf" srcId="{E998914B-A33F-49E3-AD0C-9664440590E9}" destId="{AAD28E41-32E8-40EE-9860-17D87A46D489}" srcOrd="0" destOrd="0" presId="urn:microsoft.com/office/officeart/2005/8/layout/hierarchy1"/>
    <dgm:cxn modelId="{B3B7AD0E-0532-4D06-96C3-C471BDBEE334}" type="presParOf" srcId="{E998914B-A33F-49E3-AD0C-9664440590E9}" destId="{69FA9921-5986-468C-992E-F610F1410218}" srcOrd="1" destOrd="0" presId="urn:microsoft.com/office/officeart/2005/8/layout/hierarchy1"/>
    <dgm:cxn modelId="{3C0E66B9-2EFB-45C7-A018-0EF9C3C02343}" type="presParOf" srcId="{69FA9921-5986-468C-992E-F610F1410218}" destId="{1ECB64BE-8620-4237-AD5F-B489387C6272}" srcOrd="0" destOrd="0" presId="urn:microsoft.com/office/officeart/2005/8/layout/hierarchy1"/>
    <dgm:cxn modelId="{B1844847-D391-488E-94E4-242734F4C178}" type="presParOf" srcId="{1ECB64BE-8620-4237-AD5F-B489387C6272}" destId="{DAFECBD9-4647-4E92-9EAD-650ABB1DCB8C}" srcOrd="0" destOrd="0" presId="urn:microsoft.com/office/officeart/2005/8/layout/hierarchy1"/>
    <dgm:cxn modelId="{D10CE1A1-3ED3-4AC9-A09F-C2E20AF5F0B2}" type="presParOf" srcId="{1ECB64BE-8620-4237-AD5F-B489387C6272}" destId="{72BB4682-5667-49BD-B916-6E7BB6B8C1FB}" srcOrd="1" destOrd="0" presId="urn:microsoft.com/office/officeart/2005/8/layout/hierarchy1"/>
    <dgm:cxn modelId="{4B452E7C-3288-41C8-A7BA-703F7513172A}" type="presParOf" srcId="{69FA9921-5986-468C-992E-F610F1410218}" destId="{FB90F359-6D62-431D-80FE-89E2C86F022A}" srcOrd="1" destOrd="0" presId="urn:microsoft.com/office/officeart/2005/8/layout/hierarchy1"/>
    <dgm:cxn modelId="{6EA9DEA2-D95A-462F-9333-845FAC9C7DBF}" type="presParOf" srcId="{FB90F359-6D62-431D-80FE-89E2C86F022A}" destId="{908A1B1A-A42F-49ED-A91C-C074DE017100}" srcOrd="0" destOrd="0" presId="urn:microsoft.com/office/officeart/2005/8/layout/hierarchy1"/>
    <dgm:cxn modelId="{B71576BD-63C9-4DFE-AC85-F62B83E5AF0B}" type="presParOf" srcId="{FB90F359-6D62-431D-80FE-89E2C86F022A}" destId="{FF4323D8-B60F-44BE-900F-3CA8E7A22A16}" srcOrd="1" destOrd="0" presId="urn:microsoft.com/office/officeart/2005/8/layout/hierarchy1"/>
    <dgm:cxn modelId="{9528109D-4D7E-4085-BDEF-244500018B8C}" type="presParOf" srcId="{FF4323D8-B60F-44BE-900F-3CA8E7A22A16}" destId="{06D1CD7B-982A-4556-8662-7380D91B5E50}" srcOrd="0" destOrd="0" presId="urn:microsoft.com/office/officeart/2005/8/layout/hierarchy1"/>
    <dgm:cxn modelId="{C167E350-272D-43A5-ADC4-D9D32D04CC98}" type="presParOf" srcId="{06D1CD7B-982A-4556-8662-7380D91B5E50}" destId="{2A88790D-8EF1-442C-BE35-FE72557C8DE9}" srcOrd="0" destOrd="0" presId="urn:microsoft.com/office/officeart/2005/8/layout/hierarchy1"/>
    <dgm:cxn modelId="{3C0D0971-3FC6-48BD-B9D7-73919DA9CACD}" type="presParOf" srcId="{06D1CD7B-982A-4556-8662-7380D91B5E50}" destId="{D50DA171-5FFF-48E8-B688-0775883163F8}" srcOrd="1" destOrd="0" presId="urn:microsoft.com/office/officeart/2005/8/layout/hierarchy1"/>
    <dgm:cxn modelId="{34BC6961-7BE2-4F85-AAA4-ED9CC73A482D}" type="presParOf" srcId="{FF4323D8-B60F-44BE-900F-3CA8E7A22A16}" destId="{E283CC03-6539-456C-A602-2765A156A264}" srcOrd="1" destOrd="0" presId="urn:microsoft.com/office/officeart/2005/8/layout/hierarchy1"/>
    <dgm:cxn modelId="{25B6D01E-8B97-4C88-8A9D-47548BF113A1}" type="presParOf" srcId="{E283CC03-6539-456C-A602-2765A156A264}" destId="{299BBE9F-705D-4D36-B590-93833830BBC1}" srcOrd="0" destOrd="0" presId="urn:microsoft.com/office/officeart/2005/8/layout/hierarchy1"/>
    <dgm:cxn modelId="{7D748B97-EFE0-4A2A-B155-C22DE7D5097B}" type="presParOf" srcId="{E283CC03-6539-456C-A602-2765A156A264}" destId="{7DA2C8DD-0093-4AAE-83A0-C5AF32CD354E}" srcOrd="1" destOrd="0" presId="urn:microsoft.com/office/officeart/2005/8/layout/hierarchy1"/>
    <dgm:cxn modelId="{BFAF0026-2165-4127-8245-A0E8ED56CA5A}" type="presParOf" srcId="{7DA2C8DD-0093-4AAE-83A0-C5AF32CD354E}" destId="{C2911291-A902-4356-A50A-D3E0346BA36E}" srcOrd="0" destOrd="0" presId="urn:microsoft.com/office/officeart/2005/8/layout/hierarchy1"/>
    <dgm:cxn modelId="{5C982728-C2AE-4B48-A707-BAD0ACDC62CC}" type="presParOf" srcId="{C2911291-A902-4356-A50A-D3E0346BA36E}" destId="{224019A6-7750-416F-8F2D-03BB2CE7F5E0}" srcOrd="0" destOrd="0" presId="urn:microsoft.com/office/officeart/2005/8/layout/hierarchy1"/>
    <dgm:cxn modelId="{F5BD2062-6531-4D44-8FA4-6C2FC9ADB05E}" type="presParOf" srcId="{C2911291-A902-4356-A50A-D3E0346BA36E}" destId="{91404C66-F3C6-4F0D-8F25-62D785A8A209}" srcOrd="1" destOrd="0" presId="urn:microsoft.com/office/officeart/2005/8/layout/hierarchy1"/>
    <dgm:cxn modelId="{515F2B99-A6E5-4C82-A255-7D0C3F7E9DBC}" type="presParOf" srcId="{7DA2C8DD-0093-4AAE-83A0-C5AF32CD354E}" destId="{47552768-4754-4B9C-B228-5972B1D417D6}" srcOrd="1" destOrd="0" presId="urn:microsoft.com/office/officeart/2005/8/layout/hierarchy1"/>
    <dgm:cxn modelId="{F20B7A77-EF3B-41E2-90BF-EA3E16BB3B25}" type="presParOf" srcId="{A86E24D9-9763-4666-B78C-95E72BBE004D}" destId="{0ABDFCCE-978E-4797-A4EB-49AB792DC10F}" srcOrd="2" destOrd="0" presId="urn:microsoft.com/office/officeart/2005/8/layout/hierarchy1"/>
    <dgm:cxn modelId="{862659E1-12EF-4447-AA61-DD4A2E331CB6}" type="presParOf" srcId="{A86E24D9-9763-4666-B78C-95E72BBE004D}" destId="{B43AAC07-78C0-42B2-92B8-42333B212980}" srcOrd="3" destOrd="0" presId="urn:microsoft.com/office/officeart/2005/8/layout/hierarchy1"/>
    <dgm:cxn modelId="{45F87E93-F3BB-45D4-940C-AB584084DAA2}" type="presParOf" srcId="{B43AAC07-78C0-42B2-92B8-42333B212980}" destId="{BBACF7A7-C85E-42E5-808D-315B11543673}" srcOrd="0" destOrd="0" presId="urn:microsoft.com/office/officeart/2005/8/layout/hierarchy1"/>
    <dgm:cxn modelId="{28267356-50AC-45AD-A7CE-10906B835911}" type="presParOf" srcId="{BBACF7A7-C85E-42E5-808D-315B11543673}" destId="{9B35C83C-DC2E-4FD7-8126-800C0E625CE1}" srcOrd="0" destOrd="0" presId="urn:microsoft.com/office/officeart/2005/8/layout/hierarchy1"/>
    <dgm:cxn modelId="{09BB16E8-6EFB-420F-9EBD-B8C091C97727}" type="presParOf" srcId="{BBACF7A7-C85E-42E5-808D-315B11543673}" destId="{6F3E3676-EFDF-431F-A175-403CD2A616CB}" srcOrd="1" destOrd="0" presId="urn:microsoft.com/office/officeart/2005/8/layout/hierarchy1"/>
    <dgm:cxn modelId="{7C53AA2D-5B3E-4160-BB90-92529C0D0666}" type="presParOf" srcId="{B43AAC07-78C0-42B2-92B8-42333B212980}" destId="{15E09E87-4DC1-46D1-8440-185A7CD2CB1A}" srcOrd="1" destOrd="0" presId="urn:microsoft.com/office/officeart/2005/8/layout/hierarchy1"/>
    <dgm:cxn modelId="{869CAEE4-0F7F-4D9E-91EF-7CD8329D5870}" type="presParOf" srcId="{A86E24D9-9763-4666-B78C-95E72BBE004D}" destId="{0ECF736A-AF12-40EE-BD49-486480FCD511}" srcOrd="4" destOrd="0" presId="urn:microsoft.com/office/officeart/2005/8/layout/hierarchy1"/>
    <dgm:cxn modelId="{82DE46F5-820C-4E76-8657-30A555129103}" type="presParOf" srcId="{A86E24D9-9763-4666-B78C-95E72BBE004D}" destId="{D942127C-E19C-4E63-B292-F0A2FEE4F330}" srcOrd="5" destOrd="0" presId="urn:microsoft.com/office/officeart/2005/8/layout/hierarchy1"/>
    <dgm:cxn modelId="{DDED8AAA-E7CE-49ED-8D38-23E2B95B73E7}" type="presParOf" srcId="{D942127C-E19C-4E63-B292-F0A2FEE4F330}" destId="{98AE54BB-BAD1-4A71-B528-2AC25BC80865}" srcOrd="0" destOrd="0" presId="urn:microsoft.com/office/officeart/2005/8/layout/hierarchy1"/>
    <dgm:cxn modelId="{02383C5A-C1E8-4FC1-8F59-376EFD4B8B89}" type="presParOf" srcId="{98AE54BB-BAD1-4A71-B528-2AC25BC80865}" destId="{606B1C79-FB29-43CE-8F4A-FFFB1EDCBDBA}" srcOrd="0" destOrd="0" presId="urn:microsoft.com/office/officeart/2005/8/layout/hierarchy1"/>
    <dgm:cxn modelId="{C452F8C5-F3DC-4221-89E5-E10FFCC57733}" type="presParOf" srcId="{98AE54BB-BAD1-4A71-B528-2AC25BC80865}" destId="{7C29BC9C-E51F-442B-B970-1FFACE87E1BD}" srcOrd="1" destOrd="0" presId="urn:microsoft.com/office/officeart/2005/8/layout/hierarchy1"/>
    <dgm:cxn modelId="{874752C0-D799-466F-BA66-DAFD87186FBA}" type="presParOf" srcId="{D942127C-E19C-4E63-B292-F0A2FEE4F330}" destId="{4435D31B-DE47-4E21-9BF9-E9567B4CBD40}" srcOrd="1" destOrd="0" presId="urn:microsoft.com/office/officeart/2005/8/layout/hierarchy1"/>
    <dgm:cxn modelId="{3713F12C-5885-4145-B382-EDE99175E183}" type="presParOf" srcId="{EEA27BBE-085C-49BD-8523-A9A467A73DB1}" destId="{A0C3FC59-DEE0-4176-9E9B-98D5F05E0F6E}" srcOrd="2" destOrd="0" presId="urn:microsoft.com/office/officeart/2005/8/layout/hierarchy1"/>
    <dgm:cxn modelId="{23DAA5E3-32FF-4613-974E-9174DE6B3C46}" type="presParOf" srcId="{EEA27BBE-085C-49BD-8523-A9A467A73DB1}" destId="{6755F2A8-183D-4158-9BE8-2A16345D148E}" srcOrd="3" destOrd="0" presId="urn:microsoft.com/office/officeart/2005/8/layout/hierarchy1"/>
    <dgm:cxn modelId="{A7A532D7-AB6B-4ECD-A13A-70E8E71E2805}" type="presParOf" srcId="{6755F2A8-183D-4158-9BE8-2A16345D148E}" destId="{E19CB031-2B00-40C6-BC9E-B66C69972F44}" srcOrd="0" destOrd="0" presId="urn:microsoft.com/office/officeart/2005/8/layout/hierarchy1"/>
    <dgm:cxn modelId="{F52F1B21-90CF-4AED-BE0A-8AB719481F1E}" type="presParOf" srcId="{E19CB031-2B00-40C6-BC9E-B66C69972F44}" destId="{721C7E2B-1E13-473D-A745-CD84C6F13674}" srcOrd="0" destOrd="0" presId="urn:microsoft.com/office/officeart/2005/8/layout/hierarchy1"/>
    <dgm:cxn modelId="{808FEBB7-AC84-4DFC-99CB-84E6FA6B08FE}" type="presParOf" srcId="{E19CB031-2B00-40C6-BC9E-B66C69972F44}" destId="{B33A834D-D1FA-47F9-BB71-322801EB6D9D}" srcOrd="1" destOrd="0" presId="urn:microsoft.com/office/officeart/2005/8/layout/hierarchy1"/>
    <dgm:cxn modelId="{DCB3E9DE-98D7-4E19-8532-99B52F0301A1}" type="presParOf" srcId="{6755F2A8-183D-4158-9BE8-2A16345D148E}" destId="{02FCF269-4AF7-4A3B-887A-90ECFE6B1A83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A50CFB5-298B-41F1-80BA-9D7FDF9646DD}" type="doc">
      <dgm:prSet loTypeId="urn:microsoft.com/office/officeart/2005/8/layout/hList3" loCatId="list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9C96343-AC7D-4822-AA96-A4066AF6CE64}">
      <dgm:prSet phldrT="[Text]" custT="1"/>
      <dgm:spPr/>
      <dgm:t>
        <a:bodyPr/>
        <a:lstStyle/>
        <a:p>
          <a:r>
            <a:rPr lang="en-US" sz="1050" b="1" dirty="0" smtClean="0"/>
            <a:t>Parent Thread</a:t>
          </a:r>
        </a:p>
        <a:p>
          <a:endParaRPr lang="en-US" sz="1000" b="1" dirty="0"/>
        </a:p>
      </dgm:t>
    </dgm:pt>
    <dgm:pt modelId="{EC3D28E0-EB24-451E-A5AC-AAC7C44BF00E}" type="parTrans" cxnId="{34539100-744A-48E6-9A50-82E9FB51A3CA}">
      <dgm:prSet/>
      <dgm:spPr/>
      <dgm:t>
        <a:bodyPr/>
        <a:lstStyle/>
        <a:p>
          <a:endParaRPr lang="en-US"/>
        </a:p>
      </dgm:t>
    </dgm:pt>
    <dgm:pt modelId="{74CD4966-0010-4FAE-BBB1-3617C13FACD3}" type="sibTrans" cxnId="{34539100-744A-48E6-9A50-82E9FB51A3CA}">
      <dgm:prSet/>
      <dgm:spPr/>
      <dgm:t>
        <a:bodyPr/>
        <a:lstStyle/>
        <a:p>
          <a:endParaRPr lang="en-US"/>
        </a:p>
      </dgm:t>
    </dgm:pt>
    <dgm:pt modelId="{AF5ADBC7-D9F6-4CA3-88A9-8BB98509FC8F}">
      <dgm:prSet phldrT="[Text]" custT="1"/>
      <dgm:spPr/>
      <dgm:t>
        <a:bodyPr/>
        <a:lstStyle/>
        <a:p>
          <a:r>
            <a:rPr lang="en-US" sz="800" b="1" dirty="0" smtClean="0"/>
            <a:t>Thread </a:t>
          </a:r>
          <a:endParaRPr lang="en-US" sz="800" b="1" dirty="0"/>
        </a:p>
      </dgm:t>
    </dgm:pt>
    <dgm:pt modelId="{0E6B1E88-A8D1-4AF6-8BA2-139FD4272157}" type="parTrans" cxnId="{A820DAB0-8B47-44E3-9ED1-71F4F9E79B2B}">
      <dgm:prSet/>
      <dgm:spPr/>
      <dgm:t>
        <a:bodyPr/>
        <a:lstStyle/>
        <a:p>
          <a:endParaRPr lang="en-US"/>
        </a:p>
      </dgm:t>
    </dgm:pt>
    <dgm:pt modelId="{81CD1BE7-6986-4F1E-AAAA-7BF0BC15D264}" type="sibTrans" cxnId="{A820DAB0-8B47-44E3-9ED1-71F4F9E79B2B}">
      <dgm:prSet/>
      <dgm:spPr/>
      <dgm:t>
        <a:bodyPr/>
        <a:lstStyle/>
        <a:p>
          <a:endParaRPr lang="en-US"/>
        </a:p>
      </dgm:t>
    </dgm:pt>
    <dgm:pt modelId="{AAB70359-4ABB-44EE-9118-556320A7DDAA}">
      <dgm:prSet phldrT="[Text]" custT="1"/>
      <dgm:spPr/>
      <dgm:t>
        <a:bodyPr/>
        <a:lstStyle/>
        <a:p>
          <a:r>
            <a:rPr lang="en-US" sz="800" b="1" dirty="0" smtClean="0"/>
            <a:t>Thread </a:t>
          </a:r>
          <a:endParaRPr lang="en-US" sz="800" b="1" dirty="0"/>
        </a:p>
      </dgm:t>
    </dgm:pt>
    <dgm:pt modelId="{4AAEA163-7190-43D6-B9FE-AC0C677EB541}" type="parTrans" cxnId="{249D7520-6C72-4BD2-96AA-B6BA64EA2F99}">
      <dgm:prSet/>
      <dgm:spPr/>
      <dgm:t>
        <a:bodyPr/>
        <a:lstStyle/>
        <a:p>
          <a:endParaRPr lang="en-US"/>
        </a:p>
      </dgm:t>
    </dgm:pt>
    <dgm:pt modelId="{4C975709-4505-456E-BA4F-C710E6C534C2}" type="sibTrans" cxnId="{249D7520-6C72-4BD2-96AA-B6BA64EA2F99}">
      <dgm:prSet/>
      <dgm:spPr/>
      <dgm:t>
        <a:bodyPr/>
        <a:lstStyle/>
        <a:p>
          <a:endParaRPr lang="en-US"/>
        </a:p>
      </dgm:t>
    </dgm:pt>
    <dgm:pt modelId="{8E65F5D3-7A69-43DE-9007-5038DB31946D}">
      <dgm:prSet phldrT="[Text]" custT="1"/>
      <dgm:spPr/>
      <dgm:t>
        <a:bodyPr/>
        <a:lstStyle/>
        <a:p>
          <a:r>
            <a:rPr lang="en-US" sz="800" b="1" dirty="0" smtClean="0"/>
            <a:t>Thread </a:t>
          </a:r>
          <a:endParaRPr lang="en-US" sz="900" b="1" dirty="0"/>
        </a:p>
      </dgm:t>
    </dgm:pt>
    <dgm:pt modelId="{3820FA68-355F-4C71-8522-4F09BF485AE3}" type="parTrans" cxnId="{CB9FD6D8-D007-422B-B903-3A89B5E290FC}">
      <dgm:prSet/>
      <dgm:spPr/>
      <dgm:t>
        <a:bodyPr/>
        <a:lstStyle/>
        <a:p>
          <a:endParaRPr lang="en-US"/>
        </a:p>
      </dgm:t>
    </dgm:pt>
    <dgm:pt modelId="{2A0F511D-80CF-4A94-9B37-FF997077A6F6}" type="sibTrans" cxnId="{CB9FD6D8-D007-422B-B903-3A89B5E290FC}">
      <dgm:prSet/>
      <dgm:spPr/>
      <dgm:t>
        <a:bodyPr/>
        <a:lstStyle/>
        <a:p>
          <a:endParaRPr lang="en-US"/>
        </a:p>
      </dgm:t>
    </dgm:pt>
    <dgm:pt modelId="{8839684C-E011-451A-9E36-E4120779B17C}" type="pres">
      <dgm:prSet presAssocID="{6A50CFB5-298B-41F1-80BA-9D7FDF9646DD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F49AA59-F7B9-49A7-8528-4D5A3DC43D6E}" type="pres">
      <dgm:prSet presAssocID="{C9C96343-AC7D-4822-AA96-A4066AF6CE64}" presName="roof" presStyleLbl="dkBgShp" presStyleIdx="0" presStyleCnt="2"/>
      <dgm:spPr/>
      <dgm:t>
        <a:bodyPr/>
        <a:lstStyle/>
        <a:p>
          <a:endParaRPr lang="en-US"/>
        </a:p>
      </dgm:t>
    </dgm:pt>
    <dgm:pt modelId="{43A2893B-E2C6-440C-88DE-613DC0B74F91}" type="pres">
      <dgm:prSet presAssocID="{C9C96343-AC7D-4822-AA96-A4066AF6CE64}" presName="pillars" presStyleCnt="0"/>
      <dgm:spPr/>
    </dgm:pt>
    <dgm:pt modelId="{CE65B083-E16C-418B-8B9A-A9B0DAE3A85B}" type="pres">
      <dgm:prSet presAssocID="{C9C96343-AC7D-4822-AA96-A4066AF6CE64}" presName="pillar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F1C47E-DC98-451B-A494-E96BDFF5D4EB}" type="pres">
      <dgm:prSet presAssocID="{AAB70359-4ABB-44EE-9118-556320A7DDAA}" presName="pillar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170A9D-0A63-46F2-8D94-9ED3FE249EFF}" type="pres">
      <dgm:prSet presAssocID="{8E65F5D3-7A69-43DE-9007-5038DB31946D}" presName="pillar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BCF1594-0C20-436F-8BE9-04AD010C3620}" type="pres">
      <dgm:prSet presAssocID="{C9C96343-AC7D-4822-AA96-A4066AF6CE64}" presName="base" presStyleLbl="dkBgShp" presStyleIdx="1" presStyleCnt="2"/>
      <dgm:spPr/>
    </dgm:pt>
  </dgm:ptLst>
  <dgm:cxnLst>
    <dgm:cxn modelId="{249D7520-6C72-4BD2-96AA-B6BA64EA2F99}" srcId="{C9C96343-AC7D-4822-AA96-A4066AF6CE64}" destId="{AAB70359-4ABB-44EE-9118-556320A7DDAA}" srcOrd="1" destOrd="0" parTransId="{4AAEA163-7190-43D6-B9FE-AC0C677EB541}" sibTransId="{4C975709-4505-456E-BA4F-C710E6C534C2}"/>
    <dgm:cxn modelId="{361F7E73-00E7-4DF4-A199-4F864FFA2FF5}" type="presOf" srcId="{C9C96343-AC7D-4822-AA96-A4066AF6CE64}" destId="{AF49AA59-F7B9-49A7-8528-4D5A3DC43D6E}" srcOrd="0" destOrd="0" presId="urn:microsoft.com/office/officeart/2005/8/layout/hList3"/>
    <dgm:cxn modelId="{B9954F52-D686-4D87-A235-02C0748BD63A}" type="presOf" srcId="{8E65F5D3-7A69-43DE-9007-5038DB31946D}" destId="{03170A9D-0A63-46F2-8D94-9ED3FE249EFF}" srcOrd="0" destOrd="0" presId="urn:microsoft.com/office/officeart/2005/8/layout/hList3"/>
    <dgm:cxn modelId="{178A7CE5-5F8C-439D-84C1-3CF11100B542}" type="presOf" srcId="{AF5ADBC7-D9F6-4CA3-88A9-8BB98509FC8F}" destId="{CE65B083-E16C-418B-8B9A-A9B0DAE3A85B}" srcOrd="0" destOrd="0" presId="urn:microsoft.com/office/officeart/2005/8/layout/hList3"/>
    <dgm:cxn modelId="{34539100-744A-48E6-9A50-82E9FB51A3CA}" srcId="{6A50CFB5-298B-41F1-80BA-9D7FDF9646DD}" destId="{C9C96343-AC7D-4822-AA96-A4066AF6CE64}" srcOrd="0" destOrd="0" parTransId="{EC3D28E0-EB24-451E-A5AC-AAC7C44BF00E}" sibTransId="{74CD4966-0010-4FAE-BBB1-3617C13FACD3}"/>
    <dgm:cxn modelId="{CB9FD6D8-D007-422B-B903-3A89B5E290FC}" srcId="{C9C96343-AC7D-4822-AA96-A4066AF6CE64}" destId="{8E65F5D3-7A69-43DE-9007-5038DB31946D}" srcOrd="2" destOrd="0" parTransId="{3820FA68-355F-4C71-8522-4F09BF485AE3}" sibTransId="{2A0F511D-80CF-4A94-9B37-FF997077A6F6}"/>
    <dgm:cxn modelId="{C82BB2DB-AFCD-44CB-8A49-F8840CAEEE9D}" type="presOf" srcId="{AAB70359-4ABB-44EE-9118-556320A7DDAA}" destId="{64F1C47E-DC98-451B-A494-E96BDFF5D4EB}" srcOrd="0" destOrd="0" presId="urn:microsoft.com/office/officeart/2005/8/layout/hList3"/>
    <dgm:cxn modelId="{CA01CADB-3C43-4F44-9813-69DE3E81B57A}" type="presOf" srcId="{6A50CFB5-298B-41F1-80BA-9D7FDF9646DD}" destId="{8839684C-E011-451A-9E36-E4120779B17C}" srcOrd="0" destOrd="0" presId="urn:microsoft.com/office/officeart/2005/8/layout/hList3"/>
    <dgm:cxn modelId="{A820DAB0-8B47-44E3-9ED1-71F4F9E79B2B}" srcId="{C9C96343-AC7D-4822-AA96-A4066AF6CE64}" destId="{AF5ADBC7-D9F6-4CA3-88A9-8BB98509FC8F}" srcOrd="0" destOrd="0" parTransId="{0E6B1E88-A8D1-4AF6-8BA2-139FD4272157}" sibTransId="{81CD1BE7-6986-4F1E-AAAA-7BF0BC15D264}"/>
    <dgm:cxn modelId="{6E4E982B-FE2A-49F9-9345-31FDB2CBDE1D}" type="presParOf" srcId="{8839684C-E011-451A-9E36-E4120779B17C}" destId="{AF49AA59-F7B9-49A7-8528-4D5A3DC43D6E}" srcOrd="0" destOrd="0" presId="urn:microsoft.com/office/officeart/2005/8/layout/hList3"/>
    <dgm:cxn modelId="{ABA7748C-538C-45F2-8950-0F68D4668D94}" type="presParOf" srcId="{8839684C-E011-451A-9E36-E4120779B17C}" destId="{43A2893B-E2C6-440C-88DE-613DC0B74F91}" srcOrd="1" destOrd="0" presId="urn:microsoft.com/office/officeart/2005/8/layout/hList3"/>
    <dgm:cxn modelId="{95409D84-C5CF-485F-B768-22141BA8DD7D}" type="presParOf" srcId="{43A2893B-E2C6-440C-88DE-613DC0B74F91}" destId="{CE65B083-E16C-418B-8B9A-A9B0DAE3A85B}" srcOrd="0" destOrd="0" presId="urn:microsoft.com/office/officeart/2005/8/layout/hList3"/>
    <dgm:cxn modelId="{3B489455-51DD-4BB1-85ED-A0CB9D7D0A2C}" type="presParOf" srcId="{43A2893B-E2C6-440C-88DE-613DC0B74F91}" destId="{64F1C47E-DC98-451B-A494-E96BDFF5D4EB}" srcOrd="1" destOrd="0" presId="urn:microsoft.com/office/officeart/2005/8/layout/hList3"/>
    <dgm:cxn modelId="{8AFB39F6-C831-41EB-B2D1-58499B21A1A7}" type="presParOf" srcId="{43A2893B-E2C6-440C-88DE-613DC0B74F91}" destId="{03170A9D-0A63-46F2-8D94-9ED3FE249EFF}" srcOrd="2" destOrd="0" presId="urn:microsoft.com/office/officeart/2005/8/layout/hList3"/>
    <dgm:cxn modelId="{D1FFA5E2-0A66-49E5-89EC-37B816869F1F}" type="presParOf" srcId="{8839684C-E011-451A-9E36-E4120779B17C}" destId="{7BCF1594-0C20-436F-8BE9-04AD010C3620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233AB61D-ED26-475C-BFD5-9224E00EE3DC}" type="doc">
      <dgm:prSet loTypeId="urn:microsoft.com/office/officeart/2005/8/layout/funnel1" loCatId="process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43F24CC-47E5-48C2-AC8B-FB1EFF33A681}">
      <dgm:prSet phldrT="[Text]"/>
      <dgm:spPr/>
      <dgm:t>
        <a:bodyPr/>
        <a:lstStyle/>
        <a:p>
          <a:r>
            <a:rPr lang="en-US" dirty="0" smtClean="0"/>
            <a:t>10 min</a:t>
          </a:r>
          <a:endParaRPr lang="en-US" dirty="0"/>
        </a:p>
      </dgm:t>
    </dgm:pt>
    <dgm:pt modelId="{18B800DF-8DD2-49C0-9717-DF9A17D06F71}" type="parTrans" cxnId="{3FF287D0-E407-4A4A-87EF-0C3CD0CF6DDB}">
      <dgm:prSet/>
      <dgm:spPr/>
      <dgm:t>
        <a:bodyPr/>
        <a:lstStyle/>
        <a:p>
          <a:endParaRPr lang="en-US"/>
        </a:p>
      </dgm:t>
    </dgm:pt>
    <dgm:pt modelId="{2E774637-7047-465F-AEF8-F177796A0AC1}" type="sibTrans" cxnId="{3FF287D0-E407-4A4A-87EF-0C3CD0CF6DDB}">
      <dgm:prSet/>
      <dgm:spPr/>
      <dgm:t>
        <a:bodyPr/>
        <a:lstStyle/>
        <a:p>
          <a:endParaRPr lang="en-US"/>
        </a:p>
      </dgm:t>
    </dgm:pt>
    <dgm:pt modelId="{65220151-FD2B-4653-A78F-E5992758630E}">
      <dgm:prSet phldrT="[Text]"/>
      <dgm:spPr/>
      <dgm:t>
        <a:bodyPr/>
        <a:lstStyle/>
        <a:p>
          <a:r>
            <a:rPr lang="en-US" dirty="0" smtClean="0"/>
            <a:t>10 min</a:t>
          </a:r>
          <a:endParaRPr lang="en-US" dirty="0"/>
        </a:p>
      </dgm:t>
    </dgm:pt>
    <dgm:pt modelId="{ABC9B5C0-C63C-48C1-B758-D8A54C369BEF}" type="parTrans" cxnId="{E488AFC8-104E-434A-8BD5-20541CB357C0}">
      <dgm:prSet/>
      <dgm:spPr/>
      <dgm:t>
        <a:bodyPr/>
        <a:lstStyle/>
        <a:p>
          <a:endParaRPr lang="en-US"/>
        </a:p>
      </dgm:t>
    </dgm:pt>
    <dgm:pt modelId="{5B445A0F-3BB9-448F-8663-30010D086CC9}" type="sibTrans" cxnId="{E488AFC8-104E-434A-8BD5-20541CB357C0}">
      <dgm:prSet/>
      <dgm:spPr/>
      <dgm:t>
        <a:bodyPr/>
        <a:lstStyle/>
        <a:p>
          <a:endParaRPr lang="en-US"/>
        </a:p>
      </dgm:t>
    </dgm:pt>
    <dgm:pt modelId="{345436E4-583B-4209-9CFC-BA9AFEA7738E}">
      <dgm:prSet phldrT="[Text]"/>
      <dgm:spPr/>
      <dgm:t>
        <a:bodyPr/>
        <a:lstStyle/>
        <a:p>
          <a:r>
            <a:rPr lang="en-US" dirty="0" smtClean="0"/>
            <a:t>10 min</a:t>
          </a:r>
          <a:endParaRPr lang="en-US" dirty="0"/>
        </a:p>
      </dgm:t>
    </dgm:pt>
    <dgm:pt modelId="{60556E49-270C-44A4-9E23-52767377110F}" type="parTrans" cxnId="{34F4C3AE-80EB-4864-9DA1-5CC521AB7752}">
      <dgm:prSet/>
      <dgm:spPr/>
      <dgm:t>
        <a:bodyPr/>
        <a:lstStyle/>
        <a:p>
          <a:endParaRPr lang="en-US"/>
        </a:p>
      </dgm:t>
    </dgm:pt>
    <dgm:pt modelId="{4E3864D0-56C0-4B92-AC2C-CDB1F25FF0B2}" type="sibTrans" cxnId="{34F4C3AE-80EB-4864-9DA1-5CC521AB7752}">
      <dgm:prSet/>
      <dgm:spPr/>
      <dgm:t>
        <a:bodyPr/>
        <a:lstStyle/>
        <a:p>
          <a:endParaRPr lang="en-US"/>
        </a:p>
      </dgm:t>
    </dgm:pt>
    <dgm:pt modelId="{8D71E909-191F-4317-8E0D-06DAABE0790B}">
      <dgm:prSet phldrT="[Text]"/>
      <dgm:spPr/>
      <dgm:t>
        <a:bodyPr/>
        <a:lstStyle/>
        <a:p>
          <a:r>
            <a:rPr lang="en-US" b="1" dirty="0" smtClean="0"/>
            <a:t>Total Time</a:t>
          </a:r>
          <a:endParaRPr lang="en-US" b="1" dirty="0"/>
        </a:p>
      </dgm:t>
    </dgm:pt>
    <dgm:pt modelId="{5779A374-7844-4A10-BEBB-1424B8E7088D}" type="sibTrans" cxnId="{A228F926-40F6-473F-8E69-96B7016E6867}">
      <dgm:prSet/>
      <dgm:spPr/>
      <dgm:t>
        <a:bodyPr/>
        <a:lstStyle/>
        <a:p>
          <a:endParaRPr lang="en-US"/>
        </a:p>
      </dgm:t>
    </dgm:pt>
    <dgm:pt modelId="{671805B9-6216-4EAE-8A08-2EE6B6ACF358}" type="parTrans" cxnId="{A228F926-40F6-473F-8E69-96B7016E6867}">
      <dgm:prSet/>
      <dgm:spPr/>
      <dgm:t>
        <a:bodyPr/>
        <a:lstStyle/>
        <a:p>
          <a:endParaRPr lang="en-US"/>
        </a:p>
      </dgm:t>
    </dgm:pt>
    <dgm:pt modelId="{FF63DAC4-10E7-48A0-98CB-7C64BCF0E40D}" type="pres">
      <dgm:prSet presAssocID="{233AB61D-ED26-475C-BFD5-9224E00EE3DC}" presName="Name0" presStyleCnt="0">
        <dgm:presLayoutVars>
          <dgm:chMax val="4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8B5550E-71DC-4225-949F-F7C6E5AC0B3A}" type="pres">
      <dgm:prSet presAssocID="{233AB61D-ED26-475C-BFD5-9224E00EE3DC}" presName="ellipse" presStyleLbl="trBgShp" presStyleIdx="0" presStyleCnt="1"/>
      <dgm:spPr/>
    </dgm:pt>
    <dgm:pt modelId="{5591E2C2-770F-4C7B-BA09-6F60595B7D3D}" type="pres">
      <dgm:prSet presAssocID="{233AB61D-ED26-475C-BFD5-9224E00EE3DC}" presName="arrow1" presStyleLbl="fgShp" presStyleIdx="0" presStyleCnt="1"/>
      <dgm:spPr/>
    </dgm:pt>
    <dgm:pt modelId="{90ABE64A-F071-4950-8AA1-5B69DD0A0D3D}" type="pres">
      <dgm:prSet presAssocID="{233AB61D-ED26-475C-BFD5-9224E00EE3DC}" presName="rectangle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487CCD-8CCC-4E1F-9230-0346B63B277A}" type="pres">
      <dgm:prSet presAssocID="{65220151-FD2B-4653-A78F-E5992758630E}" presName="item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416988-E407-49D8-8FC0-CC7109E86D21}" type="pres">
      <dgm:prSet presAssocID="{345436E4-583B-4209-9CFC-BA9AFEA7738E}" presName="item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234723-7EC8-4D66-ADD7-AFBA9B459492}" type="pres">
      <dgm:prSet presAssocID="{8D71E909-191F-4317-8E0D-06DAABE0790B}" presName="item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46C432-E438-42F7-B629-48BD2497EE3E}" type="pres">
      <dgm:prSet presAssocID="{233AB61D-ED26-475C-BFD5-9224E00EE3DC}" presName="funnel" presStyleLbl="trAlignAcc1" presStyleIdx="0" presStyleCnt="1"/>
      <dgm:spPr/>
    </dgm:pt>
  </dgm:ptLst>
  <dgm:cxnLst>
    <dgm:cxn modelId="{799DB734-D026-4998-8A2E-74BF4AF26F04}" type="presOf" srcId="{A43F24CC-47E5-48C2-AC8B-FB1EFF33A681}" destId="{02234723-7EC8-4D66-ADD7-AFBA9B459492}" srcOrd="0" destOrd="0" presId="urn:microsoft.com/office/officeart/2005/8/layout/funnel1"/>
    <dgm:cxn modelId="{E488AFC8-104E-434A-8BD5-20541CB357C0}" srcId="{233AB61D-ED26-475C-BFD5-9224E00EE3DC}" destId="{65220151-FD2B-4653-A78F-E5992758630E}" srcOrd="1" destOrd="0" parTransId="{ABC9B5C0-C63C-48C1-B758-D8A54C369BEF}" sibTransId="{5B445A0F-3BB9-448F-8663-30010D086CC9}"/>
    <dgm:cxn modelId="{412A8834-46BC-4C2E-987D-776F26E8C0B6}" type="presOf" srcId="{345436E4-583B-4209-9CFC-BA9AFEA7738E}" destId="{3C487CCD-8CCC-4E1F-9230-0346B63B277A}" srcOrd="0" destOrd="0" presId="urn:microsoft.com/office/officeart/2005/8/layout/funnel1"/>
    <dgm:cxn modelId="{CC33FB57-0D35-43AD-BEF5-622E438CB5FA}" type="presOf" srcId="{8D71E909-191F-4317-8E0D-06DAABE0790B}" destId="{90ABE64A-F071-4950-8AA1-5B69DD0A0D3D}" srcOrd="0" destOrd="0" presId="urn:microsoft.com/office/officeart/2005/8/layout/funnel1"/>
    <dgm:cxn modelId="{A228F926-40F6-473F-8E69-96B7016E6867}" srcId="{233AB61D-ED26-475C-BFD5-9224E00EE3DC}" destId="{8D71E909-191F-4317-8E0D-06DAABE0790B}" srcOrd="3" destOrd="0" parTransId="{671805B9-6216-4EAE-8A08-2EE6B6ACF358}" sibTransId="{5779A374-7844-4A10-BEBB-1424B8E7088D}"/>
    <dgm:cxn modelId="{34F4C3AE-80EB-4864-9DA1-5CC521AB7752}" srcId="{233AB61D-ED26-475C-BFD5-9224E00EE3DC}" destId="{345436E4-583B-4209-9CFC-BA9AFEA7738E}" srcOrd="2" destOrd="0" parTransId="{60556E49-270C-44A4-9E23-52767377110F}" sibTransId="{4E3864D0-56C0-4B92-AC2C-CDB1F25FF0B2}"/>
    <dgm:cxn modelId="{9029D2F1-FC4F-4180-96D9-C87F08EAB911}" type="presOf" srcId="{233AB61D-ED26-475C-BFD5-9224E00EE3DC}" destId="{FF63DAC4-10E7-48A0-98CB-7C64BCF0E40D}" srcOrd="0" destOrd="0" presId="urn:microsoft.com/office/officeart/2005/8/layout/funnel1"/>
    <dgm:cxn modelId="{A5441696-8426-4931-82A3-15CFFBBA5420}" type="presOf" srcId="{65220151-FD2B-4653-A78F-E5992758630E}" destId="{8A416988-E407-49D8-8FC0-CC7109E86D21}" srcOrd="0" destOrd="0" presId="urn:microsoft.com/office/officeart/2005/8/layout/funnel1"/>
    <dgm:cxn modelId="{3FF287D0-E407-4A4A-87EF-0C3CD0CF6DDB}" srcId="{233AB61D-ED26-475C-BFD5-9224E00EE3DC}" destId="{A43F24CC-47E5-48C2-AC8B-FB1EFF33A681}" srcOrd="0" destOrd="0" parTransId="{18B800DF-8DD2-49C0-9717-DF9A17D06F71}" sibTransId="{2E774637-7047-465F-AEF8-F177796A0AC1}"/>
    <dgm:cxn modelId="{6C9A0B28-5703-4521-BD1E-9082F419BCD3}" type="presParOf" srcId="{FF63DAC4-10E7-48A0-98CB-7C64BCF0E40D}" destId="{58B5550E-71DC-4225-949F-F7C6E5AC0B3A}" srcOrd="0" destOrd="0" presId="urn:microsoft.com/office/officeart/2005/8/layout/funnel1"/>
    <dgm:cxn modelId="{2DF9863E-169B-4F29-ADF5-810CDD33365E}" type="presParOf" srcId="{FF63DAC4-10E7-48A0-98CB-7C64BCF0E40D}" destId="{5591E2C2-770F-4C7B-BA09-6F60595B7D3D}" srcOrd="1" destOrd="0" presId="urn:microsoft.com/office/officeart/2005/8/layout/funnel1"/>
    <dgm:cxn modelId="{A91E6A62-27D4-40E5-B790-AF88A058DD14}" type="presParOf" srcId="{FF63DAC4-10E7-48A0-98CB-7C64BCF0E40D}" destId="{90ABE64A-F071-4950-8AA1-5B69DD0A0D3D}" srcOrd="2" destOrd="0" presId="urn:microsoft.com/office/officeart/2005/8/layout/funnel1"/>
    <dgm:cxn modelId="{31528109-3CAA-4949-981E-D1872E31ADA3}" type="presParOf" srcId="{FF63DAC4-10E7-48A0-98CB-7C64BCF0E40D}" destId="{3C487CCD-8CCC-4E1F-9230-0346B63B277A}" srcOrd="3" destOrd="0" presId="urn:microsoft.com/office/officeart/2005/8/layout/funnel1"/>
    <dgm:cxn modelId="{817809A5-340F-4B73-B17A-50B50FE12F85}" type="presParOf" srcId="{FF63DAC4-10E7-48A0-98CB-7C64BCF0E40D}" destId="{8A416988-E407-49D8-8FC0-CC7109E86D21}" srcOrd="4" destOrd="0" presId="urn:microsoft.com/office/officeart/2005/8/layout/funnel1"/>
    <dgm:cxn modelId="{B4CB2287-6ADF-4605-974B-DC3F93AF75BE}" type="presParOf" srcId="{FF63DAC4-10E7-48A0-98CB-7C64BCF0E40D}" destId="{02234723-7EC8-4D66-ADD7-AFBA9B459492}" srcOrd="5" destOrd="0" presId="urn:microsoft.com/office/officeart/2005/8/layout/funnel1"/>
    <dgm:cxn modelId="{285AF65C-A17B-48E5-A5C3-6EE5F2D11894}" type="presParOf" srcId="{FF63DAC4-10E7-48A0-98CB-7C64BCF0E40D}" destId="{8A46C432-E438-42F7-B629-48BD2497EE3E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C188C3F-4E06-487E-A3D7-DABB5AFF202F}" type="doc">
      <dgm:prSet loTypeId="urn:microsoft.com/office/officeart/2005/8/layout/hierarchy1" loCatId="hierarchy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760B560-2E55-4D9A-9671-0155FA6070AE}">
      <dgm:prSet/>
      <dgm:spPr/>
      <dgm:t>
        <a:bodyPr/>
        <a:lstStyle/>
        <a:p>
          <a:r>
            <a:rPr lang="en-US" b="1" dirty="0" smtClean="0"/>
            <a:t>Automation Script</a:t>
          </a:r>
          <a:endParaRPr lang="en-US" b="1" dirty="0"/>
        </a:p>
      </dgm:t>
    </dgm:pt>
    <dgm:pt modelId="{6715957C-71DD-4D10-A240-C9213572AE80}" type="parTrans" cxnId="{EC4A889C-C28B-4D40-A59B-FA81B1785C58}">
      <dgm:prSet/>
      <dgm:spPr/>
      <dgm:t>
        <a:bodyPr/>
        <a:lstStyle/>
        <a:p>
          <a:endParaRPr lang="en-US"/>
        </a:p>
      </dgm:t>
    </dgm:pt>
    <dgm:pt modelId="{01E5DE01-22E4-47E5-BC6D-85D40EB2D0E0}" type="sibTrans" cxnId="{EC4A889C-C28B-4D40-A59B-FA81B1785C58}">
      <dgm:prSet/>
      <dgm:spPr/>
      <dgm:t>
        <a:bodyPr/>
        <a:lstStyle/>
        <a:p>
          <a:endParaRPr lang="en-US"/>
        </a:p>
      </dgm:t>
    </dgm:pt>
    <dgm:pt modelId="{F26CEC92-F982-4A5A-8C5E-152FF3C500A9}">
      <dgm:prSet/>
      <dgm:spPr/>
      <dgm:t>
        <a:bodyPr/>
        <a:lstStyle/>
        <a:p>
          <a:r>
            <a:rPr lang="en-US" b="1" dirty="0" smtClean="0"/>
            <a:t>MM</a:t>
          </a:r>
          <a:endParaRPr lang="en-US" b="1" dirty="0"/>
        </a:p>
      </dgm:t>
    </dgm:pt>
    <dgm:pt modelId="{33546020-90D8-4728-99F9-93191ACF8EC0}" type="parTrans" cxnId="{F3279497-0C4A-49AB-B2C5-E30503375A15}">
      <dgm:prSet/>
      <dgm:spPr/>
      <dgm:t>
        <a:bodyPr/>
        <a:lstStyle/>
        <a:p>
          <a:endParaRPr lang="en-US"/>
        </a:p>
      </dgm:t>
    </dgm:pt>
    <dgm:pt modelId="{AF227F58-5192-4A07-83F3-77F582140876}" type="sibTrans" cxnId="{F3279497-0C4A-49AB-B2C5-E30503375A15}">
      <dgm:prSet/>
      <dgm:spPr/>
      <dgm:t>
        <a:bodyPr/>
        <a:lstStyle/>
        <a:p>
          <a:endParaRPr lang="en-US"/>
        </a:p>
      </dgm:t>
    </dgm:pt>
    <dgm:pt modelId="{733A9DAD-8C76-457C-A0C8-E5F447E36EA6}">
      <dgm:prSet/>
      <dgm:spPr/>
      <dgm:t>
        <a:bodyPr/>
        <a:lstStyle/>
        <a:p>
          <a:r>
            <a:rPr lang="en-US" b="1" dirty="0" smtClean="0"/>
            <a:t>….</a:t>
          </a:r>
          <a:endParaRPr lang="en-US" b="1" dirty="0"/>
        </a:p>
      </dgm:t>
    </dgm:pt>
    <dgm:pt modelId="{420377E6-1260-4950-A3D4-ED85F418FC1F}" type="parTrans" cxnId="{B7178B9A-92E9-49A1-BEA5-D80C9745DCCB}">
      <dgm:prSet/>
      <dgm:spPr/>
      <dgm:t>
        <a:bodyPr/>
        <a:lstStyle/>
        <a:p>
          <a:endParaRPr lang="en-US"/>
        </a:p>
      </dgm:t>
    </dgm:pt>
    <dgm:pt modelId="{190FAFB8-A12E-4BD8-8ABE-57011822AF10}" type="sibTrans" cxnId="{B7178B9A-92E9-49A1-BEA5-D80C9745DCCB}">
      <dgm:prSet/>
      <dgm:spPr/>
      <dgm:t>
        <a:bodyPr/>
        <a:lstStyle/>
        <a:p>
          <a:endParaRPr lang="en-US"/>
        </a:p>
      </dgm:t>
    </dgm:pt>
    <dgm:pt modelId="{72931B5D-72BF-4714-B7CB-FF06F48F1301}">
      <dgm:prSet/>
      <dgm:spPr/>
      <dgm:t>
        <a:bodyPr/>
        <a:lstStyle/>
        <a:p>
          <a:r>
            <a:rPr lang="en-US" b="1" dirty="0" smtClean="0"/>
            <a:t>UI</a:t>
          </a:r>
          <a:r>
            <a:rPr lang="en-US" dirty="0" smtClean="0"/>
            <a:t> </a:t>
          </a:r>
          <a:endParaRPr lang="en-US" dirty="0"/>
        </a:p>
      </dgm:t>
    </dgm:pt>
    <dgm:pt modelId="{80E59671-DFF1-4FD9-8BBC-87ABC7D1CF8C}" type="parTrans" cxnId="{5F28EE40-889F-4E7F-B383-6719336B243F}">
      <dgm:prSet/>
      <dgm:spPr/>
      <dgm:t>
        <a:bodyPr/>
        <a:lstStyle/>
        <a:p>
          <a:endParaRPr lang="en-US"/>
        </a:p>
      </dgm:t>
    </dgm:pt>
    <dgm:pt modelId="{734DC57A-C0F9-4381-8D7D-84144BC58DEF}" type="sibTrans" cxnId="{5F28EE40-889F-4E7F-B383-6719336B243F}">
      <dgm:prSet/>
      <dgm:spPr/>
      <dgm:t>
        <a:bodyPr/>
        <a:lstStyle/>
        <a:p>
          <a:endParaRPr lang="en-US"/>
        </a:p>
      </dgm:t>
    </dgm:pt>
    <dgm:pt modelId="{0C58F8FF-31E5-4EF6-B1EB-B158FB530E53}">
      <dgm:prSet/>
      <dgm:spPr/>
      <dgm:t>
        <a:bodyPr/>
        <a:lstStyle/>
        <a:p>
          <a:r>
            <a:rPr lang="en-US" b="1" dirty="0" smtClean="0"/>
            <a:t>API</a:t>
          </a:r>
          <a:endParaRPr lang="en-US" b="1" dirty="0"/>
        </a:p>
      </dgm:t>
    </dgm:pt>
    <dgm:pt modelId="{E5BB9957-9A84-46FC-A779-A37F7A05C91D}" type="parTrans" cxnId="{54D2F6A8-BB35-4806-851B-1A5E2629D248}">
      <dgm:prSet/>
      <dgm:spPr/>
      <dgm:t>
        <a:bodyPr/>
        <a:lstStyle/>
        <a:p>
          <a:endParaRPr lang="en-US"/>
        </a:p>
      </dgm:t>
    </dgm:pt>
    <dgm:pt modelId="{0AF38840-D009-42DD-BE52-C48BFB2BCA25}" type="sibTrans" cxnId="{54D2F6A8-BB35-4806-851B-1A5E2629D248}">
      <dgm:prSet/>
      <dgm:spPr/>
      <dgm:t>
        <a:bodyPr/>
        <a:lstStyle/>
        <a:p>
          <a:endParaRPr lang="en-US"/>
        </a:p>
      </dgm:t>
    </dgm:pt>
    <dgm:pt modelId="{9D9B3B44-A7F2-469B-AAEB-5179129D1E52}">
      <dgm:prSet/>
      <dgm:spPr/>
      <dgm:t>
        <a:bodyPr/>
        <a:lstStyle/>
        <a:p>
          <a:r>
            <a:rPr lang="en-US" b="1" dirty="0" smtClean="0"/>
            <a:t>Mainframe</a:t>
          </a:r>
          <a:endParaRPr lang="en-US" b="1" dirty="0"/>
        </a:p>
      </dgm:t>
    </dgm:pt>
    <dgm:pt modelId="{E6CE6380-2578-4A21-AD21-0776F465D3A9}" type="parTrans" cxnId="{37688D07-A09D-415E-BA77-3521D6D2ABC4}">
      <dgm:prSet/>
      <dgm:spPr/>
      <dgm:t>
        <a:bodyPr/>
        <a:lstStyle/>
        <a:p>
          <a:endParaRPr lang="en-US"/>
        </a:p>
      </dgm:t>
    </dgm:pt>
    <dgm:pt modelId="{80E2394A-4A92-4FE4-B363-889FC0CA97B2}" type="sibTrans" cxnId="{37688D07-A09D-415E-BA77-3521D6D2ABC4}">
      <dgm:prSet/>
      <dgm:spPr/>
      <dgm:t>
        <a:bodyPr/>
        <a:lstStyle/>
        <a:p>
          <a:endParaRPr lang="en-US"/>
        </a:p>
      </dgm:t>
    </dgm:pt>
    <dgm:pt modelId="{C6491603-2C23-4F96-98C0-46A6D59CF382}">
      <dgm:prSet custT="1"/>
      <dgm:spPr/>
      <dgm:t>
        <a:bodyPr/>
        <a:lstStyle/>
        <a:p>
          <a:r>
            <a:rPr lang="en-US" sz="1050" b="1" dirty="0" smtClean="0"/>
            <a:t>Test Case 1</a:t>
          </a:r>
          <a:endParaRPr lang="en-US" sz="1050" b="1" dirty="0"/>
        </a:p>
      </dgm:t>
    </dgm:pt>
    <dgm:pt modelId="{FC1673A5-4AAA-4147-BE2F-ED7B8BD4B22F}" type="parTrans" cxnId="{C94DD40B-CC25-4153-BAF8-35FC595A42E7}">
      <dgm:prSet/>
      <dgm:spPr/>
      <dgm:t>
        <a:bodyPr/>
        <a:lstStyle/>
        <a:p>
          <a:endParaRPr lang="en-US"/>
        </a:p>
      </dgm:t>
    </dgm:pt>
    <dgm:pt modelId="{6B6CF7B5-C9B5-490E-9D10-F5898B37DD73}" type="sibTrans" cxnId="{C94DD40B-CC25-4153-BAF8-35FC595A42E7}">
      <dgm:prSet/>
      <dgm:spPr/>
      <dgm:t>
        <a:bodyPr/>
        <a:lstStyle/>
        <a:p>
          <a:endParaRPr lang="en-US"/>
        </a:p>
      </dgm:t>
    </dgm:pt>
    <dgm:pt modelId="{97942DED-FACD-48BF-BF08-D4F338DEE827}">
      <dgm:prSet custT="1"/>
      <dgm:spPr/>
      <dgm:t>
        <a:bodyPr/>
        <a:lstStyle/>
        <a:p>
          <a:r>
            <a:rPr lang="en-US" sz="1050" b="1" dirty="0" smtClean="0"/>
            <a:t>Test Case 2</a:t>
          </a:r>
          <a:endParaRPr lang="en-US" sz="1050" b="1" dirty="0"/>
        </a:p>
      </dgm:t>
    </dgm:pt>
    <dgm:pt modelId="{DA512A21-B506-4FE0-A89C-78CE72C811AF}" type="parTrans" cxnId="{50948901-18E5-4240-8B0B-271A49D03F00}">
      <dgm:prSet/>
      <dgm:spPr/>
      <dgm:t>
        <a:bodyPr/>
        <a:lstStyle/>
        <a:p>
          <a:endParaRPr lang="en-US"/>
        </a:p>
      </dgm:t>
    </dgm:pt>
    <dgm:pt modelId="{F5527348-07F8-44E2-97F0-DF1642F08E46}" type="sibTrans" cxnId="{50948901-18E5-4240-8B0B-271A49D03F00}">
      <dgm:prSet/>
      <dgm:spPr/>
      <dgm:t>
        <a:bodyPr/>
        <a:lstStyle/>
        <a:p>
          <a:endParaRPr lang="en-US"/>
        </a:p>
      </dgm:t>
    </dgm:pt>
    <dgm:pt modelId="{0DD82AF8-14B1-46DB-9664-F3834BF1FBE7}">
      <dgm:prSet custT="1"/>
      <dgm:spPr/>
      <dgm:t>
        <a:bodyPr/>
        <a:lstStyle/>
        <a:p>
          <a:r>
            <a:rPr lang="en-US" sz="1050" b="1" dirty="0" smtClean="0"/>
            <a:t>Test Case 3</a:t>
          </a:r>
          <a:endParaRPr lang="en-US" sz="1050" b="1" dirty="0"/>
        </a:p>
      </dgm:t>
    </dgm:pt>
    <dgm:pt modelId="{4A8D8962-6EF6-45CC-BB51-8DB079220F22}" type="parTrans" cxnId="{8E398AC3-3E1D-4BC3-835F-627E69D1CF1F}">
      <dgm:prSet/>
      <dgm:spPr/>
      <dgm:t>
        <a:bodyPr/>
        <a:lstStyle/>
        <a:p>
          <a:endParaRPr lang="en-US"/>
        </a:p>
      </dgm:t>
    </dgm:pt>
    <dgm:pt modelId="{2EEC77C8-CBA3-42B1-8C07-5A85FFA05259}" type="sibTrans" cxnId="{8E398AC3-3E1D-4BC3-835F-627E69D1CF1F}">
      <dgm:prSet/>
      <dgm:spPr/>
      <dgm:t>
        <a:bodyPr/>
        <a:lstStyle/>
        <a:p>
          <a:endParaRPr lang="en-US"/>
        </a:p>
      </dgm:t>
    </dgm:pt>
    <dgm:pt modelId="{6EB23698-3D8C-47EF-B3EC-A6F4CDB0494B}" type="pres">
      <dgm:prSet presAssocID="{AC188C3F-4E06-487E-A3D7-DABB5AFF202F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C0881E67-9E99-4DE0-97CF-DE22C4A3786F}" type="pres">
      <dgm:prSet presAssocID="{1760B560-2E55-4D9A-9671-0155FA6070AE}" presName="hierRoot1" presStyleCnt="0"/>
      <dgm:spPr/>
    </dgm:pt>
    <dgm:pt modelId="{4F83FEE5-48E3-4B3A-8B16-095DA5BC0481}" type="pres">
      <dgm:prSet presAssocID="{1760B560-2E55-4D9A-9671-0155FA6070AE}" presName="composite" presStyleCnt="0"/>
      <dgm:spPr/>
    </dgm:pt>
    <dgm:pt modelId="{A01B631D-1405-4915-90B3-651EFC7B61C2}" type="pres">
      <dgm:prSet presAssocID="{1760B560-2E55-4D9A-9671-0155FA6070AE}" presName="background" presStyleLbl="node0" presStyleIdx="0" presStyleCnt="1"/>
      <dgm:spPr/>
    </dgm:pt>
    <dgm:pt modelId="{AE8972F5-056A-4084-8DFF-9CB469BBE60E}" type="pres">
      <dgm:prSet presAssocID="{1760B560-2E55-4D9A-9671-0155FA6070AE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EA27BBE-085C-49BD-8523-A9A467A73DB1}" type="pres">
      <dgm:prSet presAssocID="{1760B560-2E55-4D9A-9671-0155FA6070AE}" presName="hierChild2" presStyleCnt="0"/>
      <dgm:spPr/>
    </dgm:pt>
    <dgm:pt modelId="{AEA6A18C-FBE5-49D8-B2C4-03BC08EB36F3}" type="pres">
      <dgm:prSet presAssocID="{33546020-90D8-4728-99F9-93191ACF8EC0}" presName="Name10" presStyleLbl="parChTrans1D2" presStyleIdx="0" presStyleCnt="2"/>
      <dgm:spPr/>
      <dgm:t>
        <a:bodyPr/>
        <a:lstStyle/>
        <a:p>
          <a:endParaRPr lang="en-US"/>
        </a:p>
      </dgm:t>
    </dgm:pt>
    <dgm:pt modelId="{6DE0748B-569A-4E9A-8D0E-0838C9AF4966}" type="pres">
      <dgm:prSet presAssocID="{F26CEC92-F982-4A5A-8C5E-152FF3C500A9}" presName="hierRoot2" presStyleCnt="0"/>
      <dgm:spPr/>
    </dgm:pt>
    <dgm:pt modelId="{9650625E-F485-44D4-A59E-73B54C60E32B}" type="pres">
      <dgm:prSet presAssocID="{F26CEC92-F982-4A5A-8C5E-152FF3C500A9}" presName="composite2" presStyleCnt="0"/>
      <dgm:spPr/>
    </dgm:pt>
    <dgm:pt modelId="{BF9BC418-D44B-4B14-B2C5-BC63219C9B84}" type="pres">
      <dgm:prSet presAssocID="{F26CEC92-F982-4A5A-8C5E-152FF3C500A9}" presName="background2" presStyleLbl="node2" presStyleIdx="0" presStyleCnt="2"/>
      <dgm:spPr/>
    </dgm:pt>
    <dgm:pt modelId="{DC78E0B6-0DA7-46A8-A652-603D72A27D8A}" type="pres">
      <dgm:prSet presAssocID="{F26CEC92-F982-4A5A-8C5E-152FF3C500A9}" presName="text2" presStyleLbl="fgAcc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86E24D9-9763-4666-B78C-95E72BBE004D}" type="pres">
      <dgm:prSet presAssocID="{F26CEC92-F982-4A5A-8C5E-152FF3C500A9}" presName="hierChild3" presStyleCnt="0"/>
      <dgm:spPr/>
    </dgm:pt>
    <dgm:pt modelId="{8B817B88-0E43-478E-9F38-DF98A8A22E42}" type="pres">
      <dgm:prSet presAssocID="{80E59671-DFF1-4FD9-8BBC-87ABC7D1CF8C}" presName="Name17" presStyleLbl="parChTrans1D3" presStyleIdx="0" presStyleCnt="3"/>
      <dgm:spPr/>
      <dgm:t>
        <a:bodyPr/>
        <a:lstStyle/>
        <a:p>
          <a:endParaRPr lang="en-US"/>
        </a:p>
      </dgm:t>
    </dgm:pt>
    <dgm:pt modelId="{2E875161-F8B6-42C3-97D2-A119270029B2}" type="pres">
      <dgm:prSet presAssocID="{72931B5D-72BF-4714-B7CB-FF06F48F1301}" presName="hierRoot3" presStyleCnt="0"/>
      <dgm:spPr/>
    </dgm:pt>
    <dgm:pt modelId="{425032EC-67E4-4C85-A45A-289AA88CC56C}" type="pres">
      <dgm:prSet presAssocID="{72931B5D-72BF-4714-B7CB-FF06F48F1301}" presName="composite3" presStyleCnt="0"/>
      <dgm:spPr/>
    </dgm:pt>
    <dgm:pt modelId="{C44BA615-EA9A-4798-B82F-5513D7CB9146}" type="pres">
      <dgm:prSet presAssocID="{72931B5D-72BF-4714-B7CB-FF06F48F1301}" presName="background3" presStyleLbl="node3" presStyleIdx="0" presStyleCnt="3"/>
      <dgm:spPr/>
    </dgm:pt>
    <dgm:pt modelId="{B78583F3-F0A8-4342-92C6-ED99099CEE12}" type="pres">
      <dgm:prSet presAssocID="{72931B5D-72BF-4714-B7CB-FF06F48F1301}" presName="text3" presStyleLbl="fgAcc3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998914B-A33F-49E3-AD0C-9664440590E9}" type="pres">
      <dgm:prSet presAssocID="{72931B5D-72BF-4714-B7CB-FF06F48F1301}" presName="hierChild4" presStyleCnt="0"/>
      <dgm:spPr/>
    </dgm:pt>
    <dgm:pt modelId="{AAD28E41-32E8-40EE-9860-17D87A46D489}" type="pres">
      <dgm:prSet presAssocID="{FC1673A5-4AAA-4147-BE2F-ED7B8BD4B22F}" presName="Name23" presStyleLbl="parChTrans1D4" presStyleIdx="0" presStyleCnt="3"/>
      <dgm:spPr/>
      <dgm:t>
        <a:bodyPr/>
        <a:lstStyle/>
        <a:p>
          <a:endParaRPr lang="en-US"/>
        </a:p>
      </dgm:t>
    </dgm:pt>
    <dgm:pt modelId="{69FA9921-5986-468C-992E-F610F1410218}" type="pres">
      <dgm:prSet presAssocID="{C6491603-2C23-4F96-98C0-46A6D59CF382}" presName="hierRoot4" presStyleCnt="0"/>
      <dgm:spPr/>
    </dgm:pt>
    <dgm:pt modelId="{1ECB64BE-8620-4237-AD5F-B489387C6272}" type="pres">
      <dgm:prSet presAssocID="{C6491603-2C23-4F96-98C0-46A6D59CF382}" presName="composite4" presStyleCnt="0"/>
      <dgm:spPr/>
    </dgm:pt>
    <dgm:pt modelId="{DAFECBD9-4647-4E92-9EAD-650ABB1DCB8C}" type="pres">
      <dgm:prSet presAssocID="{C6491603-2C23-4F96-98C0-46A6D59CF382}" presName="background4" presStyleLbl="node4" presStyleIdx="0" presStyleCnt="3"/>
      <dgm:spPr/>
    </dgm:pt>
    <dgm:pt modelId="{72BB4682-5667-49BD-B916-6E7BB6B8C1FB}" type="pres">
      <dgm:prSet presAssocID="{C6491603-2C23-4F96-98C0-46A6D59CF382}" presName="text4" presStyleLbl="fgAcc4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B90F359-6D62-431D-80FE-89E2C86F022A}" type="pres">
      <dgm:prSet presAssocID="{C6491603-2C23-4F96-98C0-46A6D59CF382}" presName="hierChild5" presStyleCnt="0"/>
      <dgm:spPr/>
    </dgm:pt>
    <dgm:pt modelId="{908A1B1A-A42F-49ED-A91C-C074DE017100}" type="pres">
      <dgm:prSet presAssocID="{DA512A21-B506-4FE0-A89C-78CE72C811AF}" presName="Name23" presStyleLbl="parChTrans1D4" presStyleIdx="1" presStyleCnt="3"/>
      <dgm:spPr/>
      <dgm:t>
        <a:bodyPr/>
        <a:lstStyle/>
        <a:p>
          <a:endParaRPr lang="en-US"/>
        </a:p>
      </dgm:t>
    </dgm:pt>
    <dgm:pt modelId="{FF4323D8-B60F-44BE-900F-3CA8E7A22A16}" type="pres">
      <dgm:prSet presAssocID="{97942DED-FACD-48BF-BF08-D4F338DEE827}" presName="hierRoot4" presStyleCnt="0"/>
      <dgm:spPr/>
    </dgm:pt>
    <dgm:pt modelId="{06D1CD7B-982A-4556-8662-7380D91B5E50}" type="pres">
      <dgm:prSet presAssocID="{97942DED-FACD-48BF-BF08-D4F338DEE827}" presName="composite4" presStyleCnt="0"/>
      <dgm:spPr/>
    </dgm:pt>
    <dgm:pt modelId="{2A88790D-8EF1-442C-BE35-FE72557C8DE9}" type="pres">
      <dgm:prSet presAssocID="{97942DED-FACD-48BF-BF08-D4F338DEE827}" presName="background4" presStyleLbl="node4" presStyleIdx="1" presStyleCnt="3"/>
      <dgm:spPr/>
    </dgm:pt>
    <dgm:pt modelId="{D50DA171-5FFF-48E8-B688-0775883163F8}" type="pres">
      <dgm:prSet presAssocID="{97942DED-FACD-48BF-BF08-D4F338DEE827}" presName="text4" presStyleLbl="fgAcc4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283CC03-6539-456C-A602-2765A156A264}" type="pres">
      <dgm:prSet presAssocID="{97942DED-FACD-48BF-BF08-D4F338DEE827}" presName="hierChild5" presStyleCnt="0"/>
      <dgm:spPr/>
    </dgm:pt>
    <dgm:pt modelId="{299BBE9F-705D-4D36-B590-93833830BBC1}" type="pres">
      <dgm:prSet presAssocID="{4A8D8962-6EF6-45CC-BB51-8DB079220F22}" presName="Name23" presStyleLbl="parChTrans1D4" presStyleIdx="2" presStyleCnt="3"/>
      <dgm:spPr/>
      <dgm:t>
        <a:bodyPr/>
        <a:lstStyle/>
        <a:p>
          <a:endParaRPr lang="en-US"/>
        </a:p>
      </dgm:t>
    </dgm:pt>
    <dgm:pt modelId="{7DA2C8DD-0093-4AAE-83A0-C5AF32CD354E}" type="pres">
      <dgm:prSet presAssocID="{0DD82AF8-14B1-46DB-9664-F3834BF1FBE7}" presName="hierRoot4" presStyleCnt="0"/>
      <dgm:spPr/>
    </dgm:pt>
    <dgm:pt modelId="{C2911291-A902-4356-A50A-D3E0346BA36E}" type="pres">
      <dgm:prSet presAssocID="{0DD82AF8-14B1-46DB-9664-F3834BF1FBE7}" presName="composite4" presStyleCnt="0"/>
      <dgm:spPr/>
    </dgm:pt>
    <dgm:pt modelId="{224019A6-7750-416F-8F2D-03BB2CE7F5E0}" type="pres">
      <dgm:prSet presAssocID="{0DD82AF8-14B1-46DB-9664-F3834BF1FBE7}" presName="background4" presStyleLbl="node4" presStyleIdx="2" presStyleCnt="3"/>
      <dgm:spPr/>
    </dgm:pt>
    <dgm:pt modelId="{91404C66-F3C6-4F0D-8F25-62D785A8A209}" type="pres">
      <dgm:prSet presAssocID="{0DD82AF8-14B1-46DB-9664-F3834BF1FBE7}" presName="text4" presStyleLbl="fgAcc4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7552768-4754-4B9C-B228-5972B1D417D6}" type="pres">
      <dgm:prSet presAssocID="{0DD82AF8-14B1-46DB-9664-F3834BF1FBE7}" presName="hierChild5" presStyleCnt="0"/>
      <dgm:spPr/>
    </dgm:pt>
    <dgm:pt modelId="{0ABDFCCE-978E-4797-A4EB-49AB792DC10F}" type="pres">
      <dgm:prSet presAssocID="{E5BB9957-9A84-46FC-A779-A37F7A05C91D}" presName="Name17" presStyleLbl="parChTrans1D3" presStyleIdx="1" presStyleCnt="3"/>
      <dgm:spPr/>
      <dgm:t>
        <a:bodyPr/>
        <a:lstStyle/>
        <a:p>
          <a:endParaRPr lang="en-US"/>
        </a:p>
      </dgm:t>
    </dgm:pt>
    <dgm:pt modelId="{B43AAC07-78C0-42B2-92B8-42333B212980}" type="pres">
      <dgm:prSet presAssocID="{0C58F8FF-31E5-4EF6-B1EB-B158FB530E53}" presName="hierRoot3" presStyleCnt="0"/>
      <dgm:spPr/>
    </dgm:pt>
    <dgm:pt modelId="{BBACF7A7-C85E-42E5-808D-315B11543673}" type="pres">
      <dgm:prSet presAssocID="{0C58F8FF-31E5-4EF6-B1EB-B158FB530E53}" presName="composite3" presStyleCnt="0"/>
      <dgm:spPr/>
    </dgm:pt>
    <dgm:pt modelId="{9B35C83C-DC2E-4FD7-8126-800C0E625CE1}" type="pres">
      <dgm:prSet presAssocID="{0C58F8FF-31E5-4EF6-B1EB-B158FB530E53}" presName="background3" presStyleLbl="node3" presStyleIdx="1" presStyleCnt="3"/>
      <dgm:spPr/>
    </dgm:pt>
    <dgm:pt modelId="{6F3E3676-EFDF-431F-A175-403CD2A616CB}" type="pres">
      <dgm:prSet presAssocID="{0C58F8FF-31E5-4EF6-B1EB-B158FB530E53}" presName="text3" presStyleLbl="fgAcc3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5E09E87-4DC1-46D1-8440-185A7CD2CB1A}" type="pres">
      <dgm:prSet presAssocID="{0C58F8FF-31E5-4EF6-B1EB-B158FB530E53}" presName="hierChild4" presStyleCnt="0"/>
      <dgm:spPr/>
    </dgm:pt>
    <dgm:pt modelId="{0ECF736A-AF12-40EE-BD49-486480FCD511}" type="pres">
      <dgm:prSet presAssocID="{E6CE6380-2578-4A21-AD21-0776F465D3A9}" presName="Name17" presStyleLbl="parChTrans1D3" presStyleIdx="2" presStyleCnt="3"/>
      <dgm:spPr/>
      <dgm:t>
        <a:bodyPr/>
        <a:lstStyle/>
        <a:p>
          <a:endParaRPr lang="en-US"/>
        </a:p>
      </dgm:t>
    </dgm:pt>
    <dgm:pt modelId="{D942127C-E19C-4E63-B292-F0A2FEE4F330}" type="pres">
      <dgm:prSet presAssocID="{9D9B3B44-A7F2-469B-AAEB-5179129D1E52}" presName="hierRoot3" presStyleCnt="0"/>
      <dgm:spPr/>
    </dgm:pt>
    <dgm:pt modelId="{98AE54BB-BAD1-4A71-B528-2AC25BC80865}" type="pres">
      <dgm:prSet presAssocID="{9D9B3B44-A7F2-469B-AAEB-5179129D1E52}" presName="composite3" presStyleCnt="0"/>
      <dgm:spPr/>
    </dgm:pt>
    <dgm:pt modelId="{606B1C79-FB29-43CE-8F4A-FFFB1EDCBDBA}" type="pres">
      <dgm:prSet presAssocID="{9D9B3B44-A7F2-469B-AAEB-5179129D1E52}" presName="background3" presStyleLbl="node3" presStyleIdx="2" presStyleCnt="3"/>
      <dgm:spPr/>
    </dgm:pt>
    <dgm:pt modelId="{7C29BC9C-E51F-442B-B970-1FFACE87E1BD}" type="pres">
      <dgm:prSet presAssocID="{9D9B3B44-A7F2-469B-AAEB-5179129D1E52}" presName="text3" presStyleLbl="fgAcc3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435D31B-DE47-4E21-9BF9-E9567B4CBD40}" type="pres">
      <dgm:prSet presAssocID="{9D9B3B44-A7F2-469B-AAEB-5179129D1E52}" presName="hierChild4" presStyleCnt="0"/>
      <dgm:spPr/>
    </dgm:pt>
    <dgm:pt modelId="{A0C3FC59-DEE0-4176-9E9B-98D5F05E0F6E}" type="pres">
      <dgm:prSet presAssocID="{420377E6-1260-4950-A3D4-ED85F418FC1F}" presName="Name10" presStyleLbl="parChTrans1D2" presStyleIdx="1" presStyleCnt="2"/>
      <dgm:spPr/>
      <dgm:t>
        <a:bodyPr/>
        <a:lstStyle/>
        <a:p>
          <a:endParaRPr lang="en-US"/>
        </a:p>
      </dgm:t>
    </dgm:pt>
    <dgm:pt modelId="{6755F2A8-183D-4158-9BE8-2A16345D148E}" type="pres">
      <dgm:prSet presAssocID="{733A9DAD-8C76-457C-A0C8-E5F447E36EA6}" presName="hierRoot2" presStyleCnt="0"/>
      <dgm:spPr/>
    </dgm:pt>
    <dgm:pt modelId="{E19CB031-2B00-40C6-BC9E-B66C69972F44}" type="pres">
      <dgm:prSet presAssocID="{733A9DAD-8C76-457C-A0C8-E5F447E36EA6}" presName="composite2" presStyleCnt="0"/>
      <dgm:spPr/>
    </dgm:pt>
    <dgm:pt modelId="{721C7E2B-1E13-473D-A745-CD84C6F13674}" type="pres">
      <dgm:prSet presAssocID="{733A9DAD-8C76-457C-A0C8-E5F447E36EA6}" presName="background2" presStyleLbl="node2" presStyleIdx="1" presStyleCnt="2"/>
      <dgm:spPr/>
    </dgm:pt>
    <dgm:pt modelId="{B33A834D-D1FA-47F9-BB71-322801EB6D9D}" type="pres">
      <dgm:prSet presAssocID="{733A9DAD-8C76-457C-A0C8-E5F447E36EA6}" presName="text2" presStyleLbl="fgAcc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2FCF269-4AF7-4A3B-887A-90ECFE6B1A83}" type="pres">
      <dgm:prSet presAssocID="{733A9DAD-8C76-457C-A0C8-E5F447E36EA6}" presName="hierChild3" presStyleCnt="0"/>
      <dgm:spPr/>
    </dgm:pt>
  </dgm:ptLst>
  <dgm:cxnLst>
    <dgm:cxn modelId="{B7178B9A-92E9-49A1-BEA5-D80C9745DCCB}" srcId="{1760B560-2E55-4D9A-9671-0155FA6070AE}" destId="{733A9DAD-8C76-457C-A0C8-E5F447E36EA6}" srcOrd="1" destOrd="0" parTransId="{420377E6-1260-4950-A3D4-ED85F418FC1F}" sibTransId="{190FAFB8-A12E-4BD8-8ABE-57011822AF10}"/>
    <dgm:cxn modelId="{BE4352AB-3098-4B08-9851-25C2873929FD}" type="presOf" srcId="{C6491603-2C23-4F96-98C0-46A6D59CF382}" destId="{72BB4682-5667-49BD-B916-6E7BB6B8C1FB}" srcOrd="0" destOrd="0" presId="urn:microsoft.com/office/officeart/2005/8/layout/hierarchy1"/>
    <dgm:cxn modelId="{54D2F6A8-BB35-4806-851B-1A5E2629D248}" srcId="{F26CEC92-F982-4A5A-8C5E-152FF3C500A9}" destId="{0C58F8FF-31E5-4EF6-B1EB-B158FB530E53}" srcOrd="1" destOrd="0" parTransId="{E5BB9957-9A84-46FC-A779-A37F7A05C91D}" sibTransId="{0AF38840-D009-42DD-BE52-C48BFB2BCA25}"/>
    <dgm:cxn modelId="{50948901-18E5-4240-8B0B-271A49D03F00}" srcId="{C6491603-2C23-4F96-98C0-46A6D59CF382}" destId="{97942DED-FACD-48BF-BF08-D4F338DEE827}" srcOrd="0" destOrd="0" parTransId="{DA512A21-B506-4FE0-A89C-78CE72C811AF}" sibTransId="{F5527348-07F8-44E2-97F0-DF1642F08E46}"/>
    <dgm:cxn modelId="{F3279497-0C4A-49AB-B2C5-E30503375A15}" srcId="{1760B560-2E55-4D9A-9671-0155FA6070AE}" destId="{F26CEC92-F982-4A5A-8C5E-152FF3C500A9}" srcOrd="0" destOrd="0" parTransId="{33546020-90D8-4728-99F9-93191ACF8EC0}" sibTransId="{AF227F58-5192-4A07-83F3-77F582140876}"/>
    <dgm:cxn modelId="{C94DD40B-CC25-4153-BAF8-35FC595A42E7}" srcId="{72931B5D-72BF-4714-B7CB-FF06F48F1301}" destId="{C6491603-2C23-4F96-98C0-46A6D59CF382}" srcOrd="0" destOrd="0" parTransId="{FC1673A5-4AAA-4147-BE2F-ED7B8BD4B22F}" sibTransId="{6B6CF7B5-C9B5-490E-9D10-F5898B37DD73}"/>
    <dgm:cxn modelId="{EC4A889C-C28B-4D40-A59B-FA81B1785C58}" srcId="{AC188C3F-4E06-487E-A3D7-DABB5AFF202F}" destId="{1760B560-2E55-4D9A-9671-0155FA6070AE}" srcOrd="0" destOrd="0" parTransId="{6715957C-71DD-4D10-A240-C9213572AE80}" sibTransId="{01E5DE01-22E4-47E5-BC6D-85D40EB2D0E0}"/>
    <dgm:cxn modelId="{FD1C81BE-8D3A-46A1-8EED-2166E11B14D2}" type="presOf" srcId="{AC188C3F-4E06-487E-A3D7-DABB5AFF202F}" destId="{6EB23698-3D8C-47EF-B3EC-A6F4CDB0494B}" srcOrd="0" destOrd="0" presId="urn:microsoft.com/office/officeart/2005/8/layout/hierarchy1"/>
    <dgm:cxn modelId="{DB950C69-D6BE-4E0D-BD3E-7FC61A352CA9}" type="presOf" srcId="{E5BB9957-9A84-46FC-A779-A37F7A05C91D}" destId="{0ABDFCCE-978E-4797-A4EB-49AB792DC10F}" srcOrd="0" destOrd="0" presId="urn:microsoft.com/office/officeart/2005/8/layout/hierarchy1"/>
    <dgm:cxn modelId="{A5F2CFF1-DFF8-4FF1-AEBD-F421FE542AE9}" type="presOf" srcId="{80E59671-DFF1-4FD9-8BBC-87ABC7D1CF8C}" destId="{8B817B88-0E43-478E-9F38-DF98A8A22E42}" srcOrd="0" destOrd="0" presId="urn:microsoft.com/office/officeart/2005/8/layout/hierarchy1"/>
    <dgm:cxn modelId="{FAC1E329-31D5-4ED1-952B-FE142BDA7229}" type="presOf" srcId="{72931B5D-72BF-4714-B7CB-FF06F48F1301}" destId="{B78583F3-F0A8-4342-92C6-ED99099CEE12}" srcOrd="0" destOrd="0" presId="urn:microsoft.com/office/officeart/2005/8/layout/hierarchy1"/>
    <dgm:cxn modelId="{D422DAC8-2153-4BE7-BE80-D12B10C92366}" type="presOf" srcId="{0C58F8FF-31E5-4EF6-B1EB-B158FB530E53}" destId="{6F3E3676-EFDF-431F-A175-403CD2A616CB}" srcOrd="0" destOrd="0" presId="urn:microsoft.com/office/officeart/2005/8/layout/hierarchy1"/>
    <dgm:cxn modelId="{F7959D19-DD19-4172-AAA3-642CD764A434}" type="presOf" srcId="{F26CEC92-F982-4A5A-8C5E-152FF3C500A9}" destId="{DC78E0B6-0DA7-46A8-A652-603D72A27D8A}" srcOrd="0" destOrd="0" presId="urn:microsoft.com/office/officeart/2005/8/layout/hierarchy1"/>
    <dgm:cxn modelId="{ECDB190F-35AE-4ABC-B551-5E3FA27DC6FA}" type="presOf" srcId="{733A9DAD-8C76-457C-A0C8-E5F447E36EA6}" destId="{B33A834D-D1FA-47F9-BB71-322801EB6D9D}" srcOrd="0" destOrd="0" presId="urn:microsoft.com/office/officeart/2005/8/layout/hierarchy1"/>
    <dgm:cxn modelId="{37688D07-A09D-415E-BA77-3521D6D2ABC4}" srcId="{F26CEC92-F982-4A5A-8C5E-152FF3C500A9}" destId="{9D9B3B44-A7F2-469B-AAEB-5179129D1E52}" srcOrd="2" destOrd="0" parTransId="{E6CE6380-2578-4A21-AD21-0776F465D3A9}" sibTransId="{80E2394A-4A92-4FE4-B363-889FC0CA97B2}"/>
    <dgm:cxn modelId="{5F28EE40-889F-4E7F-B383-6719336B243F}" srcId="{F26CEC92-F982-4A5A-8C5E-152FF3C500A9}" destId="{72931B5D-72BF-4714-B7CB-FF06F48F1301}" srcOrd="0" destOrd="0" parTransId="{80E59671-DFF1-4FD9-8BBC-87ABC7D1CF8C}" sibTransId="{734DC57A-C0F9-4381-8D7D-84144BC58DEF}"/>
    <dgm:cxn modelId="{C6DF4760-3B5F-4DFB-A015-EB5C5A9C9790}" type="presOf" srcId="{FC1673A5-4AAA-4147-BE2F-ED7B8BD4B22F}" destId="{AAD28E41-32E8-40EE-9860-17D87A46D489}" srcOrd="0" destOrd="0" presId="urn:microsoft.com/office/officeart/2005/8/layout/hierarchy1"/>
    <dgm:cxn modelId="{8E398AC3-3E1D-4BC3-835F-627E69D1CF1F}" srcId="{97942DED-FACD-48BF-BF08-D4F338DEE827}" destId="{0DD82AF8-14B1-46DB-9664-F3834BF1FBE7}" srcOrd="0" destOrd="0" parTransId="{4A8D8962-6EF6-45CC-BB51-8DB079220F22}" sibTransId="{2EEC77C8-CBA3-42B1-8C07-5A85FFA05259}"/>
    <dgm:cxn modelId="{D3FDFE84-D1F3-48EA-B54C-E72D16E1A159}" type="presOf" srcId="{33546020-90D8-4728-99F9-93191ACF8EC0}" destId="{AEA6A18C-FBE5-49D8-B2C4-03BC08EB36F3}" srcOrd="0" destOrd="0" presId="urn:microsoft.com/office/officeart/2005/8/layout/hierarchy1"/>
    <dgm:cxn modelId="{6520A3C8-9826-42BA-AF77-494984502366}" type="presOf" srcId="{420377E6-1260-4950-A3D4-ED85F418FC1F}" destId="{A0C3FC59-DEE0-4176-9E9B-98D5F05E0F6E}" srcOrd="0" destOrd="0" presId="urn:microsoft.com/office/officeart/2005/8/layout/hierarchy1"/>
    <dgm:cxn modelId="{E9A7D221-5900-470D-BD34-FAAE22C25AB2}" type="presOf" srcId="{1760B560-2E55-4D9A-9671-0155FA6070AE}" destId="{AE8972F5-056A-4084-8DFF-9CB469BBE60E}" srcOrd="0" destOrd="0" presId="urn:microsoft.com/office/officeart/2005/8/layout/hierarchy1"/>
    <dgm:cxn modelId="{4EBA3E4C-69C7-4743-86F3-8F039C345310}" type="presOf" srcId="{E6CE6380-2578-4A21-AD21-0776F465D3A9}" destId="{0ECF736A-AF12-40EE-BD49-486480FCD511}" srcOrd="0" destOrd="0" presId="urn:microsoft.com/office/officeart/2005/8/layout/hierarchy1"/>
    <dgm:cxn modelId="{8A6BB41E-F79B-451C-9483-303C1BDAB320}" type="presOf" srcId="{DA512A21-B506-4FE0-A89C-78CE72C811AF}" destId="{908A1B1A-A42F-49ED-A91C-C074DE017100}" srcOrd="0" destOrd="0" presId="urn:microsoft.com/office/officeart/2005/8/layout/hierarchy1"/>
    <dgm:cxn modelId="{47CBF127-35CD-4300-BBE8-4ABAC77DF280}" type="presOf" srcId="{9D9B3B44-A7F2-469B-AAEB-5179129D1E52}" destId="{7C29BC9C-E51F-442B-B970-1FFACE87E1BD}" srcOrd="0" destOrd="0" presId="urn:microsoft.com/office/officeart/2005/8/layout/hierarchy1"/>
    <dgm:cxn modelId="{AE55556F-4CFA-43F1-A690-6D5AD5822EB4}" type="presOf" srcId="{97942DED-FACD-48BF-BF08-D4F338DEE827}" destId="{D50DA171-5FFF-48E8-B688-0775883163F8}" srcOrd="0" destOrd="0" presId="urn:microsoft.com/office/officeart/2005/8/layout/hierarchy1"/>
    <dgm:cxn modelId="{BADE0493-004B-4685-9BD5-18BB309AD4E8}" type="presOf" srcId="{0DD82AF8-14B1-46DB-9664-F3834BF1FBE7}" destId="{91404C66-F3C6-4F0D-8F25-62D785A8A209}" srcOrd="0" destOrd="0" presId="urn:microsoft.com/office/officeart/2005/8/layout/hierarchy1"/>
    <dgm:cxn modelId="{9A74D498-D00D-42EC-91A1-C22C795E9F25}" type="presOf" srcId="{4A8D8962-6EF6-45CC-BB51-8DB079220F22}" destId="{299BBE9F-705D-4D36-B590-93833830BBC1}" srcOrd="0" destOrd="0" presId="urn:microsoft.com/office/officeart/2005/8/layout/hierarchy1"/>
    <dgm:cxn modelId="{92A0ED13-9AAD-4053-A044-8EA567569E54}" type="presParOf" srcId="{6EB23698-3D8C-47EF-B3EC-A6F4CDB0494B}" destId="{C0881E67-9E99-4DE0-97CF-DE22C4A3786F}" srcOrd="0" destOrd="0" presId="urn:microsoft.com/office/officeart/2005/8/layout/hierarchy1"/>
    <dgm:cxn modelId="{06867330-6605-40D3-9B9D-0310633D6967}" type="presParOf" srcId="{C0881E67-9E99-4DE0-97CF-DE22C4A3786F}" destId="{4F83FEE5-48E3-4B3A-8B16-095DA5BC0481}" srcOrd="0" destOrd="0" presId="urn:microsoft.com/office/officeart/2005/8/layout/hierarchy1"/>
    <dgm:cxn modelId="{5BBA3DA0-5557-4047-9435-2641FCB68A88}" type="presParOf" srcId="{4F83FEE5-48E3-4B3A-8B16-095DA5BC0481}" destId="{A01B631D-1405-4915-90B3-651EFC7B61C2}" srcOrd="0" destOrd="0" presId="urn:microsoft.com/office/officeart/2005/8/layout/hierarchy1"/>
    <dgm:cxn modelId="{6270A227-EC7F-4D79-B068-879E9D64D386}" type="presParOf" srcId="{4F83FEE5-48E3-4B3A-8B16-095DA5BC0481}" destId="{AE8972F5-056A-4084-8DFF-9CB469BBE60E}" srcOrd="1" destOrd="0" presId="urn:microsoft.com/office/officeart/2005/8/layout/hierarchy1"/>
    <dgm:cxn modelId="{41DB536C-B775-4FFE-88D6-D84632420649}" type="presParOf" srcId="{C0881E67-9E99-4DE0-97CF-DE22C4A3786F}" destId="{EEA27BBE-085C-49BD-8523-A9A467A73DB1}" srcOrd="1" destOrd="0" presId="urn:microsoft.com/office/officeart/2005/8/layout/hierarchy1"/>
    <dgm:cxn modelId="{B12B1994-9983-498C-9800-2A0E8B08AA51}" type="presParOf" srcId="{EEA27BBE-085C-49BD-8523-A9A467A73DB1}" destId="{AEA6A18C-FBE5-49D8-B2C4-03BC08EB36F3}" srcOrd="0" destOrd="0" presId="urn:microsoft.com/office/officeart/2005/8/layout/hierarchy1"/>
    <dgm:cxn modelId="{06C4828A-06A1-4E51-AE38-F95A35BEBEFE}" type="presParOf" srcId="{EEA27BBE-085C-49BD-8523-A9A467A73DB1}" destId="{6DE0748B-569A-4E9A-8D0E-0838C9AF4966}" srcOrd="1" destOrd="0" presId="urn:microsoft.com/office/officeart/2005/8/layout/hierarchy1"/>
    <dgm:cxn modelId="{740C284F-33C5-422D-AD12-7CCCDB6D4DAC}" type="presParOf" srcId="{6DE0748B-569A-4E9A-8D0E-0838C9AF4966}" destId="{9650625E-F485-44D4-A59E-73B54C60E32B}" srcOrd="0" destOrd="0" presId="urn:microsoft.com/office/officeart/2005/8/layout/hierarchy1"/>
    <dgm:cxn modelId="{4E4A81B4-09B4-4836-B703-6040CBDB21BF}" type="presParOf" srcId="{9650625E-F485-44D4-A59E-73B54C60E32B}" destId="{BF9BC418-D44B-4B14-B2C5-BC63219C9B84}" srcOrd="0" destOrd="0" presId="urn:microsoft.com/office/officeart/2005/8/layout/hierarchy1"/>
    <dgm:cxn modelId="{78A371E1-2A1D-461C-AEF0-8169CF0D91EC}" type="presParOf" srcId="{9650625E-F485-44D4-A59E-73B54C60E32B}" destId="{DC78E0B6-0DA7-46A8-A652-603D72A27D8A}" srcOrd="1" destOrd="0" presId="urn:microsoft.com/office/officeart/2005/8/layout/hierarchy1"/>
    <dgm:cxn modelId="{3F27F8C1-1372-4F45-852C-1F32FC73DC4F}" type="presParOf" srcId="{6DE0748B-569A-4E9A-8D0E-0838C9AF4966}" destId="{A86E24D9-9763-4666-B78C-95E72BBE004D}" srcOrd="1" destOrd="0" presId="urn:microsoft.com/office/officeart/2005/8/layout/hierarchy1"/>
    <dgm:cxn modelId="{2AF7D7D9-3111-4915-AA4B-0AFDDE83B380}" type="presParOf" srcId="{A86E24D9-9763-4666-B78C-95E72BBE004D}" destId="{8B817B88-0E43-478E-9F38-DF98A8A22E42}" srcOrd="0" destOrd="0" presId="urn:microsoft.com/office/officeart/2005/8/layout/hierarchy1"/>
    <dgm:cxn modelId="{F7B47B00-C9BB-4740-A5CF-A5DAF45B599A}" type="presParOf" srcId="{A86E24D9-9763-4666-B78C-95E72BBE004D}" destId="{2E875161-F8B6-42C3-97D2-A119270029B2}" srcOrd="1" destOrd="0" presId="urn:microsoft.com/office/officeart/2005/8/layout/hierarchy1"/>
    <dgm:cxn modelId="{E046DEE4-169E-4676-8FE6-8D2E50B0A47C}" type="presParOf" srcId="{2E875161-F8B6-42C3-97D2-A119270029B2}" destId="{425032EC-67E4-4C85-A45A-289AA88CC56C}" srcOrd="0" destOrd="0" presId="urn:microsoft.com/office/officeart/2005/8/layout/hierarchy1"/>
    <dgm:cxn modelId="{180CB202-9069-45EB-941E-87F365F126E9}" type="presParOf" srcId="{425032EC-67E4-4C85-A45A-289AA88CC56C}" destId="{C44BA615-EA9A-4798-B82F-5513D7CB9146}" srcOrd="0" destOrd="0" presId="urn:microsoft.com/office/officeart/2005/8/layout/hierarchy1"/>
    <dgm:cxn modelId="{7E59A376-1E81-4184-9FC2-79BA1CA9889F}" type="presParOf" srcId="{425032EC-67E4-4C85-A45A-289AA88CC56C}" destId="{B78583F3-F0A8-4342-92C6-ED99099CEE12}" srcOrd="1" destOrd="0" presId="urn:microsoft.com/office/officeart/2005/8/layout/hierarchy1"/>
    <dgm:cxn modelId="{483E855E-230B-41D3-B423-F4822CC49CD0}" type="presParOf" srcId="{2E875161-F8B6-42C3-97D2-A119270029B2}" destId="{E998914B-A33F-49E3-AD0C-9664440590E9}" srcOrd="1" destOrd="0" presId="urn:microsoft.com/office/officeart/2005/8/layout/hierarchy1"/>
    <dgm:cxn modelId="{0AF48E99-BBB2-4408-A8A1-6BCB1339FF6E}" type="presParOf" srcId="{E998914B-A33F-49E3-AD0C-9664440590E9}" destId="{AAD28E41-32E8-40EE-9860-17D87A46D489}" srcOrd="0" destOrd="0" presId="urn:microsoft.com/office/officeart/2005/8/layout/hierarchy1"/>
    <dgm:cxn modelId="{A2B7F97A-DFB5-46C8-92AF-BC984C6EA339}" type="presParOf" srcId="{E998914B-A33F-49E3-AD0C-9664440590E9}" destId="{69FA9921-5986-468C-992E-F610F1410218}" srcOrd="1" destOrd="0" presId="urn:microsoft.com/office/officeart/2005/8/layout/hierarchy1"/>
    <dgm:cxn modelId="{AB2E1829-92FC-40FE-A0B1-D1ED0CA37932}" type="presParOf" srcId="{69FA9921-5986-468C-992E-F610F1410218}" destId="{1ECB64BE-8620-4237-AD5F-B489387C6272}" srcOrd="0" destOrd="0" presId="urn:microsoft.com/office/officeart/2005/8/layout/hierarchy1"/>
    <dgm:cxn modelId="{293318BE-698E-46CB-8140-4D4F3B816799}" type="presParOf" srcId="{1ECB64BE-8620-4237-AD5F-B489387C6272}" destId="{DAFECBD9-4647-4E92-9EAD-650ABB1DCB8C}" srcOrd="0" destOrd="0" presId="urn:microsoft.com/office/officeart/2005/8/layout/hierarchy1"/>
    <dgm:cxn modelId="{16FA1118-7F8C-4319-B38E-FAAF0423130F}" type="presParOf" srcId="{1ECB64BE-8620-4237-AD5F-B489387C6272}" destId="{72BB4682-5667-49BD-B916-6E7BB6B8C1FB}" srcOrd="1" destOrd="0" presId="urn:microsoft.com/office/officeart/2005/8/layout/hierarchy1"/>
    <dgm:cxn modelId="{0DEA11FC-703E-4384-A4B9-E1BEAFA24AE9}" type="presParOf" srcId="{69FA9921-5986-468C-992E-F610F1410218}" destId="{FB90F359-6D62-431D-80FE-89E2C86F022A}" srcOrd="1" destOrd="0" presId="urn:microsoft.com/office/officeart/2005/8/layout/hierarchy1"/>
    <dgm:cxn modelId="{3C07A88C-8F0D-4BE8-985F-A201CB82F7AC}" type="presParOf" srcId="{FB90F359-6D62-431D-80FE-89E2C86F022A}" destId="{908A1B1A-A42F-49ED-A91C-C074DE017100}" srcOrd="0" destOrd="0" presId="urn:microsoft.com/office/officeart/2005/8/layout/hierarchy1"/>
    <dgm:cxn modelId="{B26EDA05-4777-450F-894F-BA0A6B4D674B}" type="presParOf" srcId="{FB90F359-6D62-431D-80FE-89E2C86F022A}" destId="{FF4323D8-B60F-44BE-900F-3CA8E7A22A16}" srcOrd="1" destOrd="0" presId="urn:microsoft.com/office/officeart/2005/8/layout/hierarchy1"/>
    <dgm:cxn modelId="{CD30419D-4A88-4C5F-929E-F0D447503D46}" type="presParOf" srcId="{FF4323D8-B60F-44BE-900F-3CA8E7A22A16}" destId="{06D1CD7B-982A-4556-8662-7380D91B5E50}" srcOrd="0" destOrd="0" presId="urn:microsoft.com/office/officeart/2005/8/layout/hierarchy1"/>
    <dgm:cxn modelId="{0A4E8A23-D40F-4159-815F-46AA97C88ACC}" type="presParOf" srcId="{06D1CD7B-982A-4556-8662-7380D91B5E50}" destId="{2A88790D-8EF1-442C-BE35-FE72557C8DE9}" srcOrd="0" destOrd="0" presId="urn:microsoft.com/office/officeart/2005/8/layout/hierarchy1"/>
    <dgm:cxn modelId="{A4B9518C-B4B8-47A4-93D5-CC53209814F5}" type="presParOf" srcId="{06D1CD7B-982A-4556-8662-7380D91B5E50}" destId="{D50DA171-5FFF-48E8-B688-0775883163F8}" srcOrd="1" destOrd="0" presId="urn:microsoft.com/office/officeart/2005/8/layout/hierarchy1"/>
    <dgm:cxn modelId="{63B3B631-56C6-46BF-A3AE-5AD067ED6CB7}" type="presParOf" srcId="{FF4323D8-B60F-44BE-900F-3CA8E7A22A16}" destId="{E283CC03-6539-456C-A602-2765A156A264}" srcOrd="1" destOrd="0" presId="urn:microsoft.com/office/officeart/2005/8/layout/hierarchy1"/>
    <dgm:cxn modelId="{00966281-7F49-484D-8ECD-8341B8C1D7C4}" type="presParOf" srcId="{E283CC03-6539-456C-A602-2765A156A264}" destId="{299BBE9F-705D-4D36-B590-93833830BBC1}" srcOrd="0" destOrd="0" presId="urn:microsoft.com/office/officeart/2005/8/layout/hierarchy1"/>
    <dgm:cxn modelId="{CDAEBA23-DD4E-464D-8AC6-49D7553359D9}" type="presParOf" srcId="{E283CC03-6539-456C-A602-2765A156A264}" destId="{7DA2C8DD-0093-4AAE-83A0-C5AF32CD354E}" srcOrd="1" destOrd="0" presId="urn:microsoft.com/office/officeart/2005/8/layout/hierarchy1"/>
    <dgm:cxn modelId="{404F5CFD-6A32-4982-84E7-3256039AAEE1}" type="presParOf" srcId="{7DA2C8DD-0093-4AAE-83A0-C5AF32CD354E}" destId="{C2911291-A902-4356-A50A-D3E0346BA36E}" srcOrd="0" destOrd="0" presId="urn:microsoft.com/office/officeart/2005/8/layout/hierarchy1"/>
    <dgm:cxn modelId="{120F4849-BB34-4F08-9E8F-2AE777E7E1D0}" type="presParOf" srcId="{C2911291-A902-4356-A50A-D3E0346BA36E}" destId="{224019A6-7750-416F-8F2D-03BB2CE7F5E0}" srcOrd="0" destOrd="0" presId="urn:microsoft.com/office/officeart/2005/8/layout/hierarchy1"/>
    <dgm:cxn modelId="{986EA7F3-9E1A-4528-8F7C-4473B1336458}" type="presParOf" srcId="{C2911291-A902-4356-A50A-D3E0346BA36E}" destId="{91404C66-F3C6-4F0D-8F25-62D785A8A209}" srcOrd="1" destOrd="0" presId="urn:microsoft.com/office/officeart/2005/8/layout/hierarchy1"/>
    <dgm:cxn modelId="{D5C9AC50-51B2-4DB9-9EA4-6894F4E3227C}" type="presParOf" srcId="{7DA2C8DD-0093-4AAE-83A0-C5AF32CD354E}" destId="{47552768-4754-4B9C-B228-5972B1D417D6}" srcOrd="1" destOrd="0" presId="urn:microsoft.com/office/officeart/2005/8/layout/hierarchy1"/>
    <dgm:cxn modelId="{453E31DC-50F9-44CF-9009-336DF6461306}" type="presParOf" srcId="{A86E24D9-9763-4666-B78C-95E72BBE004D}" destId="{0ABDFCCE-978E-4797-A4EB-49AB792DC10F}" srcOrd="2" destOrd="0" presId="urn:microsoft.com/office/officeart/2005/8/layout/hierarchy1"/>
    <dgm:cxn modelId="{87BB3DF7-64C2-4BFF-8F03-D505006863B7}" type="presParOf" srcId="{A86E24D9-9763-4666-B78C-95E72BBE004D}" destId="{B43AAC07-78C0-42B2-92B8-42333B212980}" srcOrd="3" destOrd="0" presId="urn:microsoft.com/office/officeart/2005/8/layout/hierarchy1"/>
    <dgm:cxn modelId="{79A78BE3-A225-49DC-B7CD-3E4B23BB8C03}" type="presParOf" srcId="{B43AAC07-78C0-42B2-92B8-42333B212980}" destId="{BBACF7A7-C85E-42E5-808D-315B11543673}" srcOrd="0" destOrd="0" presId="urn:microsoft.com/office/officeart/2005/8/layout/hierarchy1"/>
    <dgm:cxn modelId="{DE8D57A7-BDF4-4912-80A1-BA022CEFF7C9}" type="presParOf" srcId="{BBACF7A7-C85E-42E5-808D-315B11543673}" destId="{9B35C83C-DC2E-4FD7-8126-800C0E625CE1}" srcOrd="0" destOrd="0" presId="urn:microsoft.com/office/officeart/2005/8/layout/hierarchy1"/>
    <dgm:cxn modelId="{87D24D38-543B-4357-8D9C-EA90D603CC40}" type="presParOf" srcId="{BBACF7A7-C85E-42E5-808D-315B11543673}" destId="{6F3E3676-EFDF-431F-A175-403CD2A616CB}" srcOrd="1" destOrd="0" presId="urn:microsoft.com/office/officeart/2005/8/layout/hierarchy1"/>
    <dgm:cxn modelId="{8A43519B-4B2E-4F57-9811-62F3CD86C467}" type="presParOf" srcId="{B43AAC07-78C0-42B2-92B8-42333B212980}" destId="{15E09E87-4DC1-46D1-8440-185A7CD2CB1A}" srcOrd="1" destOrd="0" presId="urn:microsoft.com/office/officeart/2005/8/layout/hierarchy1"/>
    <dgm:cxn modelId="{AF730D65-9AD8-4DBE-8914-AC991C97C573}" type="presParOf" srcId="{A86E24D9-9763-4666-B78C-95E72BBE004D}" destId="{0ECF736A-AF12-40EE-BD49-486480FCD511}" srcOrd="4" destOrd="0" presId="urn:microsoft.com/office/officeart/2005/8/layout/hierarchy1"/>
    <dgm:cxn modelId="{1AA4851C-1CCA-4EF9-BFAC-00FAE7FF1AC5}" type="presParOf" srcId="{A86E24D9-9763-4666-B78C-95E72BBE004D}" destId="{D942127C-E19C-4E63-B292-F0A2FEE4F330}" srcOrd="5" destOrd="0" presId="urn:microsoft.com/office/officeart/2005/8/layout/hierarchy1"/>
    <dgm:cxn modelId="{AF6A8A34-1065-4F2C-B49F-50B51FC38F79}" type="presParOf" srcId="{D942127C-E19C-4E63-B292-F0A2FEE4F330}" destId="{98AE54BB-BAD1-4A71-B528-2AC25BC80865}" srcOrd="0" destOrd="0" presId="urn:microsoft.com/office/officeart/2005/8/layout/hierarchy1"/>
    <dgm:cxn modelId="{B97A2004-305F-4082-91EF-527EFF220D1B}" type="presParOf" srcId="{98AE54BB-BAD1-4A71-B528-2AC25BC80865}" destId="{606B1C79-FB29-43CE-8F4A-FFFB1EDCBDBA}" srcOrd="0" destOrd="0" presId="urn:microsoft.com/office/officeart/2005/8/layout/hierarchy1"/>
    <dgm:cxn modelId="{718FE73D-FAAF-41F0-AA81-3A142E239DA5}" type="presParOf" srcId="{98AE54BB-BAD1-4A71-B528-2AC25BC80865}" destId="{7C29BC9C-E51F-442B-B970-1FFACE87E1BD}" srcOrd="1" destOrd="0" presId="urn:microsoft.com/office/officeart/2005/8/layout/hierarchy1"/>
    <dgm:cxn modelId="{4A1F2AF5-69FB-4F28-BF1A-C307F50020B4}" type="presParOf" srcId="{D942127C-E19C-4E63-B292-F0A2FEE4F330}" destId="{4435D31B-DE47-4E21-9BF9-E9567B4CBD40}" srcOrd="1" destOrd="0" presId="urn:microsoft.com/office/officeart/2005/8/layout/hierarchy1"/>
    <dgm:cxn modelId="{EEC1FFAD-7BE4-401A-A2B2-52412A492D44}" type="presParOf" srcId="{EEA27BBE-085C-49BD-8523-A9A467A73DB1}" destId="{A0C3FC59-DEE0-4176-9E9B-98D5F05E0F6E}" srcOrd="2" destOrd="0" presId="urn:microsoft.com/office/officeart/2005/8/layout/hierarchy1"/>
    <dgm:cxn modelId="{9F6AE5CE-DB12-4BEB-BC92-C71B05FA0C8A}" type="presParOf" srcId="{EEA27BBE-085C-49BD-8523-A9A467A73DB1}" destId="{6755F2A8-183D-4158-9BE8-2A16345D148E}" srcOrd="3" destOrd="0" presId="urn:microsoft.com/office/officeart/2005/8/layout/hierarchy1"/>
    <dgm:cxn modelId="{CFA4E749-CF18-45B3-968F-32FD0C0BEC75}" type="presParOf" srcId="{6755F2A8-183D-4158-9BE8-2A16345D148E}" destId="{E19CB031-2B00-40C6-BC9E-B66C69972F44}" srcOrd="0" destOrd="0" presId="urn:microsoft.com/office/officeart/2005/8/layout/hierarchy1"/>
    <dgm:cxn modelId="{D2D7FFDD-1002-4E4B-B7FA-424B2A27FF32}" type="presParOf" srcId="{E19CB031-2B00-40C6-BC9E-B66C69972F44}" destId="{721C7E2B-1E13-473D-A745-CD84C6F13674}" srcOrd="0" destOrd="0" presId="urn:microsoft.com/office/officeart/2005/8/layout/hierarchy1"/>
    <dgm:cxn modelId="{A46F12BF-DF7E-4FAA-900F-54BFD6677A30}" type="presParOf" srcId="{E19CB031-2B00-40C6-BC9E-B66C69972F44}" destId="{B33A834D-D1FA-47F9-BB71-322801EB6D9D}" srcOrd="1" destOrd="0" presId="urn:microsoft.com/office/officeart/2005/8/layout/hierarchy1"/>
    <dgm:cxn modelId="{1A64536C-750E-495F-9617-C38BB0DDFBA4}" type="presParOf" srcId="{6755F2A8-183D-4158-9BE8-2A16345D148E}" destId="{02FCF269-4AF7-4A3B-887A-90ECFE6B1A83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AB69012D-BE21-409F-94B2-7784DE3BB5B2}" type="doc">
      <dgm:prSet loTypeId="urn:microsoft.com/office/officeart/2005/8/layout/chevron2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F44D12B-8CBE-4656-993F-F9FDDED7997F}">
      <dgm:prSet phldrT="[Text]" custT="1"/>
      <dgm:spPr/>
      <dgm:t>
        <a:bodyPr/>
        <a:lstStyle/>
        <a:p>
          <a:r>
            <a:rPr lang="en-US" sz="1800" dirty="0" smtClean="0"/>
            <a:t>2</a:t>
          </a:r>
          <a:endParaRPr lang="en-US" sz="1800" dirty="0"/>
        </a:p>
      </dgm:t>
    </dgm:pt>
    <dgm:pt modelId="{D46F4AA4-6ABF-4B7C-B6AC-B54721BF4E02}" type="parTrans" cxnId="{C5DA0A8E-3BF9-4039-A580-5405ACA21785}">
      <dgm:prSet/>
      <dgm:spPr/>
      <dgm:t>
        <a:bodyPr/>
        <a:lstStyle/>
        <a:p>
          <a:endParaRPr lang="en-US"/>
        </a:p>
      </dgm:t>
    </dgm:pt>
    <dgm:pt modelId="{BFD126D4-D5C5-4916-9648-436ECD3E08BC}" type="sibTrans" cxnId="{C5DA0A8E-3BF9-4039-A580-5405ACA21785}">
      <dgm:prSet/>
      <dgm:spPr/>
      <dgm:t>
        <a:bodyPr/>
        <a:lstStyle/>
        <a:p>
          <a:endParaRPr lang="en-US"/>
        </a:p>
      </dgm:t>
    </dgm:pt>
    <dgm:pt modelId="{4E494280-AA3A-4403-B9AD-4E9A09EE28DB}">
      <dgm:prSet phldrT="[Text]" custT="1"/>
      <dgm:spPr/>
      <dgm:t>
        <a:bodyPr/>
        <a:lstStyle/>
        <a:p>
          <a:r>
            <a:rPr lang="en-US" sz="1800" dirty="0" smtClean="0"/>
            <a:t>Easily Integrate with </a:t>
          </a:r>
          <a:r>
            <a:rPr lang="en-US" sz="1800" dirty="0" err="1" smtClean="0"/>
            <a:t>RestAssured</a:t>
          </a:r>
          <a:r>
            <a:rPr lang="en-US" sz="1800" dirty="0" smtClean="0"/>
            <a:t> API framework</a:t>
          </a:r>
          <a:endParaRPr lang="en-US" sz="1800" dirty="0"/>
        </a:p>
      </dgm:t>
    </dgm:pt>
    <dgm:pt modelId="{7F66B5E7-06AD-4C6E-BC78-45E845E6D8E9}" type="parTrans" cxnId="{89E7B971-1D8E-4653-8A35-5D67E2CC5825}">
      <dgm:prSet/>
      <dgm:spPr/>
      <dgm:t>
        <a:bodyPr/>
        <a:lstStyle/>
        <a:p>
          <a:endParaRPr lang="en-US"/>
        </a:p>
      </dgm:t>
    </dgm:pt>
    <dgm:pt modelId="{6B331C1F-6AB6-4591-8ECC-C4B311DD5773}" type="sibTrans" cxnId="{89E7B971-1D8E-4653-8A35-5D67E2CC5825}">
      <dgm:prSet/>
      <dgm:spPr/>
      <dgm:t>
        <a:bodyPr/>
        <a:lstStyle/>
        <a:p>
          <a:endParaRPr lang="en-US"/>
        </a:p>
      </dgm:t>
    </dgm:pt>
    <dgm:pt modelId="{BA9A8827-5AD8-4DC5-81C6-02E2D1EB42FD}">
      <dgm:prSet phldrT="[Text]" custT="1"/>
      <dgm:spPr/>
      <dgm:t>
        <a:bodyPr/>
        <a:lstStyle/>
        <a:p>
          <a:r>
            <a:rPr lang="en-US" sz="1800" dirty="0" smtClean="0"/>
            <a:t>Applicable on UI, API &amp; Mainframe Testing</a:t>
          </a:r>
          <a:endParaRPr lang="en-US" sz="1800" dirty="0"/>
        </a:p>
      </dgm:t>
    </dgm:pt>
    <dgm:pt modelId="{7A00E10B-C14E-46E2-9A40-46B786629A14}" type="parTrans" cxnId="{FB946381-C15B-4958-82D1-1FB5CCC5A731}">
      <dgm:prSet/>
      <dgm:spPr/>
      <dgm:t>
        <a:bodyPr/>
        <a:lstStyle/>
        <a:p>
          <a:endParaRPr lang="en-US"/>
        </a:p>
      </dgm:t>
    </dgm:pt>
    <dgm:pt modelId="{3BBAA02A-8DB2-498A-89DD-BFCA61749C48}" type="sibTrans" cxnId="{FB946381-C15B-4958-82D1-1FB5CCC5A731}">
      <dgm:prSet/>
      <dgm:spPr/>
      <dgm:t>
        <a:bodyPr/>
        <a:lstStyle/>
        <a:p>
          <a:endParaRPr lang="en-US"/>
        </a:p>
      </dgm:t>
    </dgm:pt>
    <dgm:pt modelId="{779514A2-97D9-42DE-A674-3B64D01DC456}">
      <dgm:prSet phldrT="[Text]" custT="1"/>
      <dgm:spPr/>
      <dgm:t>
        <a:bodyPr/>
        <a:lstStyle/>
        <a:p>
          <a:r>
            <a:rPr lang="en-US" sz="1800" dirty="0" smtClean="0"/>
            <a:t>3</a:t>
          </a:r>
          <a:endParaRPr lang="en-US" sz="1800" dirty="0"/>
        </a:p>
      </dgm:t>
    </dgm:pt>
    <dgm:pt modelId="{7E69571F-85C4-4493-9792-51017679A8A2}" type="parTrans" cxnId="{F5A7BBFC-9102-49C6-A17C-77EFBF24017D}">
      <dgm:prSet/>
      <dgm:spPr/>
      <dgm:t>
        <a:bodyPr/>
        <a:lstStyle/>
        <a:p>
          <a:endParaRPr lang="en-US"/>
        </a:p>
      </dgm:t>
    </dgm:pt>
    <dgm:pt modelId="{768F6AC4-4364-4C50-9609-99893F9F2357}" type="sibTrans" cxnId="{F5A7BBFC-9102-49C6-A17C-77EFBF24017D}">
      <dgm:prSet/>
      <dgm:spPr/>
      <dgm:t>
        <a:bodyPr/>
        <a:lstStyle/>
        <a:p>
          <a:endParaRPr lang="en-US"/>
        </a:p>
      </dgm:t>
    </dgm:pt>
    <dgm:pt modelId="{4D3E9CEE-B76B-44A6-BD8B-275B8BACD381}">
      <dgm:prSet phldrT="[Text]" custT="1"/>
      <dgm:spPr/>
      <dgm:t>
        <a:bodyPr/>
        <a:lstStyle/>
        <a:p>
          <a:r>
            <a:rPr lang="en-US" sz="1800" dirty="0" smtClean="0"/>
            <a:t>1</a:t>
          </a:r>
          <a:endParaRPr lang="en-US" sz="1800" dirty="0"/>
        </a:p>
      </dgm:t>
    </dgm:pt>
    <dgm:pt modelId="{82E9B942-7E6E-43E0-9BFD-EEBA2C1FF7DB}" type="sibTrans" cxnId="{DC115743-911F-46CC-B59B-377ACAEB9D1F}">
      <dgm:prSet/>
      <dgm:spPr/>
      <dgm:t>
        <a:bodyPr/>
        <a:lstStyle/>
        <a:p>
          <a:endParaRPr lang="en-US"/>
        </a:p>
      </dgm:t>
    </dgm:pt>
    <dgm:pt modelId="{61DBDD1E-340D-4502-84E5-54FD41720AC2}" type="parTrans" cxnId="{DC115743-911F-46CC-B59B-377ACAEB9D1F}">
      <dgm:prSet/>
      <dgm:spPr/>
      <dgm:t>
        <a:bodyPr/>
        <a:lstStyle/>
        <a:p>
          <a:endParaRPr lang="en-US"/>
        </a:p>
      </dgm:t>
    </dgm:pt>
    <dgm:pt modelId="{46ADC22B-520A-403C-BFAD-DB286F5C2804}">
      <dgm:prSet phldrT="[Text]" custT="1"/>
      <dgm:spPr/>
      <dgm:t>
        <a:bodyPr/>
        <a:lstStyle/>
        <a:p>
          <a:r>
            <a:rPr lang="en-US" sz="1800" b="0" dirty="0" smtClean="0"/>
            <a:t>90% </a:t>
          </a:r>
          <a:r>
            <a:rPr lang="en-US" sz="1800" b="0" dirty="0" smtClean="0"/>
            <a:t>Execution </a:t>
          </a:r>
          <a:r>
            <a:rPr lang="en-US" sz="1800" b="0" dirty="0" smtClean="0"/>
            <a:t>time reduction</a:t>
          </a:r>
          <a:endParaRPr lang="en-US" sz="1800" b="0" dirty="0"/>
        </a:p>
      </dgm:t>
    </dgm:pt>
    <dgm:pt modelId="{FAC5B275-DE27-4BEC-A293-BF45E499C8E9}" type="sibTrans" cxnId="{D9586D28-213C-4F86-9A24-C498F9C18A87}">
      <dgm:prSet/>
      <dgm:spPr/>
      <dgm:t>
        <a:bodyPr/>
        <a:lstStyle/>
        <a:p>
          <a:endParaRPr lang="en-US"/>
        </a:p>
      </dgm:t>
    </dgm:pt>
    <dgm:pt modelId="{CB8716DD-9B02-40A9-902A-F712B887B552}" type="parTrans" cxnId="{D9586D28-213C-4F86-9A24-C498F9C18A87}">
      <dgm:prSet/>
      <dgm:spPr/>
      <dgm:t>
        <a:bodyPr/>
        <a:lstStyle/>
        <a:p>
          <a:endParaRPr lang="en-US"/>
        </a:p>
      </dgm:t>
    </dgm:pt>
    <dgm:pt modelId="{9249CF5D-BE80-4BC2-81D2-11D7D50D02ED}" type="pres">
      <dgm:prSet presAssocID="{AB69012D-BE21-409F-94B2-7784DE3BB5B2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99EC332-F4DE-4A32-8308-F0EF248B028A}" type="pres">
      <dgm:prSet presAssocID="{4D3E9CEE-B76B-44A6-BD8B-275B8BACD381}" presName="composite" presStyleCnt="0"/>
      <dgm:spPr/>
      <dgm:t>
        <a:bodyPr/>
        <a:lstStyle/>
        <a:p>
          <a:endParaRPr lang="en-US"/>
        </a:p>
      </dgm:t>
    </dgm:pt>
    <dgm:pt modelId="{7A8F5AC5-D26A-47EC-BA0D-363996916922}" type="pres">
      <dgm:prSet presAssocID="{4D3E9CEE-B76B-44A6-BD8B-275B8BACD381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992F69-2477-41B0-8CB1-10AF492E479F}" type="pres">
      <dgm:prSet presAssocID="{4D3E9CEE-B76B-44A6-BD8B-275B8BACD381}" presName="descendantText" presStyleLbl="alignAcc1" presStyleIdx="0" presStyleCnt="3" custLinFactNeighborX="1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9C4510-DB1C-48BF-93D5-13ECDEDEDEC0}" type="pres">
      <dgm:prSet presAssocID="{82E9B942-7E6E-43E0-9BFD-EEBA2C1FF7DB}" presName="sp" presStyleCnt="0"/>
      <dgm:spPr/>
      <dgm:t>
        <a:bodyPr/>
        <a:lstStyle/>
        <a:p>
          <a:endParaRPr lang="en-US"/>
        </a:p>
      </dgm:t>
    </dgm:pt>
    <dgm:pt modelId="{9E13DAD9-2CB6-475E-939E-ABFC1070DC49}" type="pres">
      <dgm:prSet presAssocID="{0F44D12B-8CBE-4656-993F-F9FDDED7997F}" presName="composite" presStyleCnt="0"/>
      <dgm:spPr/>
      <dgm:t>
        <a:bodyPr/>
        <a:lstStyle/>
        <a:p>
          <a:endParaRPr lang="en-US"/>
        </a:p>
      </dgm:t>
    </dgm:pt>
    <dgm:pt modelId="{2F741373-F877-42B3-8EA9-C7CA2AFBE0A7}" type="pres">
      <dgm:prSet presAssocID="{0F44D12B-8CBE-4656-993F-F9FDDED7997F}" presName="parentText" presStyleLbl="alignNode1" presStyleIdx="1" presStyleCnt="3" custLinFactNeighborX="-1485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F6AE43-FDD0-4DBB-8C74-1A4038A9F8DF}" type="pres">
      <dgm:prSet presAssocID="{0F44D12B-8CBE-4656-993F-F9FDDED7997F}" presName="descendantText" presStyleLbl="alignAcc1" presStyleIdx="1" presStyleCnt="3" custLinFactNeighborY="72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4D23C3-8C2A-4FD7-866A-BBF1B02045D7}" type="pres">
      <dgm:prSet presAssocID="{BFD126D4-D5C5-4916-9648-436ECD3E08BC}" presName="sp" presStyleCnt="0"/>
      <dgm:spPr/>
      <dgm:t>
        <a:bodyPr/>
        <a:lstStyle/>
        <a:p>
          <a:endParaRPr lang="en-US"/>
        </a:p>
      </dgm:t>
    </dgm:pt>
    <dgm:pt modelId="{80F3FCC1-0905-4BE5-9035-03A0F53876F8}" type="pres">
      <dgm:prSet presAssocID="{779514A2-97D9-42DE-A674-3B64D01DC456}" presName="composite" presStyleCnt="0"/>
      <dgm:spPr/>
    </dgm:pt>
    <dgm:pt modelId="{A463FD2C-FC80-4631-91EE-C7D0AAED45C9}" type="pres">
      <dgm:prSet presAssocID="{779514A2-97D9-42DE-A674-3B64D01DC456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372053-07E3-4F26-B462-3AA5B053217E}" type="pres">
      <dgm:prSet presAssocID="{779514A2-97D9-42DE-A674-3B64D01DC456}" presName="descendantText" presStyleLbl="alignAcc1" presStyleIdx="2" presStyleCnt="3" custLinFactNeighborY="149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B827026-E9B9-46AD-B07A-94C7DF9C4572}" type="presOf" srcId="{0F44D12B-8CBE-4656-993F-F9FDDED7997F}" destId="{2F741373-F877-42B3-8EA9-C7CA2AFBE0A7}" srcOrd="0" destOrd="0" presId="urn:microsoft.com/office/officeart/2005/8/layout/chevron2"/>
    <dgm:cxn modelId="{45372F75-1729-4F4F-9E7D-7D3BF228C650}" type="presOf" srcId="{BA9A8827-5AD8-4DC5-81C6-02E2D1EB42FD}" destId="{A6F6AE43-FDD0-4DBB-8C74-1A4038A9F8DF}" srcOrd="0" destOrd="0" presId="urn:microsoft.com/office/officeart/2005/8/layout/chevron2"/>
    <dgm:cxn modelId="{F5A7BBFC-9102-49C6-A17C-77EFBF24017D}" srcId="{AB69012D-BE21-409F-94B2-7784DE3BB5B2}" destId="{779514A2-97D9-42DE-A674-3B64D01DC456}" srcOrd="2" destOrd="0" parTransId="{7E69571F-85C4-4493-9792-51017679A8A2}" sibTransId="{768F6AC4-4364-4C50-9609-99893F9F2357}"/>
    <dgm:cxn modelId="{89E7B971-1D8E-4653-8A35-5D67E2CC5825}" srcId="{779514A2-97D9-42DE-A674-3B64D01DC456}" destId="{4E494280-AA3A-4403-B9AD-4E9A09EE28DB}" srcOrd="0" destOrd="0" parTransId="{7F66B5E7-06AD-4C6E-BC78-45E845E6D8E9}" sibTransId="{6B331C1F-6AB6-4591-8ECC-C4B311DD5773}"/>
    <dgm:cxn modelId="{FB946381-C15B-4958-82D1-1FB5CCC5A731}" srcId="{0F44D12B-8CBE-4656-993F-F9FDDED7997F}" destId="{BA9A8827-5AD8-4DC5-81C6-02E2D1EB42FD}" srcOrd="0" destOrd="0" parTransId="{7A00E10B-C14E-46E2-9A40-46B786629A14}" sibTransId="{3BBAA02A-8DB2-498A-89DD-BFCA61749C48}"/>
    <dgm:cxn modelId="{800119FA-8703-431A-B78D-197E470CC81A}" type="presOf" srcId="{46ADC22B-520A-403C-BFAD-DB286F5C2804}" destId="{97992F69-2477-41B0-8CB1-10AF492E479F}" srcOrd="0" destOrd="0" presId="urn:microsoft.com/office/officeart/2005/8/layout/chevron2"/>
    <dgm:cxn modelId="{44D03172-DEC4-426F-B9BA-45F0C839AFAB}" type="presOf" srcId="{4D3E9CEE-B76B-44A6-BD8B-275B8BACD381}" destId="{7A8F5AC5-D26A-47EC-BA0D-363996916922}" srcOrd="0" destOrd="0" presId="urn:microsoft.com/office/officeart/2005/8/layout/chevron2"/>
    <dgm:cxn modelId="{3F185FB6-E9C1-4EC1-A7A5-4D8ED28ED006}" type="presOf" srcId="{AB69012D-BE21-409F-94B2-7784DE3BB5B2}" destId="{9249CF5D-BE80-4BC2-81D2-11D7D50D02ED}" srcOrd="0" destOrd="0" presId="urn:microsoft.com/office/officeart/2005/8/layout/chevron2"/>
    <dgm:cxn modelId="{DC115743-911F-46CC-B59B-377ACAEB9D1F}" srcId="{AB69012D-BE21-409F-94B2-7784DE3BB5B2}" destId="{4D3E9CEE-B76B-44A6-BD8B-275B8BACD381}" srcOrd="0" destOrd="0" parTransId="{61DBDD1E-340D-4502-84E5-54FD41720AC2}" sibTransId="{82E9B942-7E6E-43E0-9BFD-EEBA2C1FF7DB}"/>
    <dgm:cxn modelId="{C5DA0A8E-3BF9-4039-A580-5405ACA21785}" srcId="{AB69012D-BE21-409F-94B2-7784DE3BB5B2}" destId="{0F44D12B-8CBE-4656-993F-F9FDDED7997F}" srcOrd="1" destOrd="0" parTransId="{D46F4AA4-6ABF-4B7C-B6AC-B54721BF4E02}" sibTransId="{BFD126D4-D5C5-4916-9648-436ECD3E08BC}"/>
    <dgm:cxn modelId="{1AD1928B-657E-4C42-962C-DAD10270A898}" type="presOf" srcId="{779514A2-97D9-42DE-A674-3B64D01DC456}" destId="{A463FD2C-FC80-4631-91EE-C7D0AAED45C9}" srcOrd="0" destOrd="0" presId="urn:microsoft.com/office/officeart/2005/8/layout/chevron2"/>
    <dgm:cxn modelId="{CEB72D12-E939-41D8-9BA3-857BEB4AF05D}" type="presOf" srcId="{4E494280-AA3A-4403-B9AD-4E9A09EE28DB}" destId="{3C372053-07E3-4F26-B462-3AA5B053217E}" srcOrd="0" destOrd="0" presId="urn:microsoft.com/office/officeart/2005/8/layout/chevron2"/>
    <dgm:cxn modelId="{D9586D28-213C-4F86-9A24-C498F9C18A87}" srcId="{4D3E9CEE-B76B-44A6-BD8B-275B8BACD381}" destId="{46ADC22B-520A-403C-BFAD-DB286F5C2804}" srcOrd="0" destOrd="0" parTransId="{CB8716DD-9B02-40A9-902A-F712B887B552}" sibTransId="{FAC5B275-DE27-4BEC-A293-BF45E499C8E9}"/>
    <dgm:cxn modelId="{63264E3C-F3C2-442B-AB44-FBEA13293137}" type="presParOf" srcId="{9249CF5D-BE80-4BC2-81D2-11D7D50D02ED}" destId="{899EC332-F4DE-4A32-8308-F0EF248B028A}" srcOrd="0" destOrd="0" presId="urn:microsoft.com/office/officeart/2005/8/layout/chevron2"/>
    <dgm:cxn modelId="{15B3282A-27E4-4A5E-A920-E21398B28E4A}" type="presParOf" srcId="{899EC332-F4DE-4A32-8308-F0EF248B028A}" destId="{7A8F5AC5-D26A-47EC-BA0D-363996916922}" srcOrd="0" destOrd="0" presId="urn:microsoft.com/office/officeart/2005/8/layout/chevron2"/>
    <dgm:cxn modelId="{7357A21B-B8EF-4400-8CC3-27367B832E79}" type="presParOf" srcId="{899EC332-F4DE-4A32-8308-F0EF248B028A}" destId="{97992F69-2477-41B0-8CB1-10AF492E479F}" srcOrd="1" destOrd="0" presId="urn:microsoft.com/office/officeart/2005/8/layout/chevron2"/>
    <dgm:cxn modelId="{C067E909-6487-4F7A-B74A-37C10302BA2B}" type="presParOf" srcId="{9249CF5D-BE80-4BC2-81D2-11D7D50D02ED}" destId="{D09C4510-DB1C-48BF-93D5-13ECDEDEDEC0}" srcOrd="1" destOrd="0" presId="urn:microsoft.com/office/officeart/2005/8/layout/chevron2"/>
    <dgm:cxn modelId="{9B59E224-AA78-4EB4-8B35-94F5EF273ADE}" type="presParOf" srcId="{9249CF5D-BE80-4BC2-81D2-11D7D50D02ED}" destId="{9E13DAD9-2CB6-475E-939E-ABFC1070DC49}" srcOrd="2" destOrd="0" presId="urn:microsoft.com/office/officeart/2005/8/layout/chevron2"/>
    <dgm:cxn modelId="{DEEE454B-1196-4AA4-8F60-6AC137E4480E}" type="presParOf" srcId="{9E13DAD9-2CB6-475E-939E-ABFC1070DC49}" destId="{2F741373-F877-42B3-8EA9-C7CA2AFBE0A7}" srcOrd="0" destOrd="0" presId="urn:microsoft.com/office/officeart/2005/8/layout/chevron2"/>
    <dgm:cxn modelId="{EFAA4093-C5B3-4BD8-A471-192F0B64CBC7}" type="presParOf" srcId="{9E13DAD9-2CB6-475E-939E-ABFC1070DC49}" destId="{A6F6AE43-FDD0-4DBB-8C74-1A4038A9F8DF}" srcOrd="1" destOrd="0" presId="urn:microsoft.com/office/officeart/2005/8/layout/chevron2"/>
    <dgm:cxn modelId="{ED3E83F7-D84A-4FFE-9542-E1A671C7DCB9}" type="presParOf" srcId="{9249CF5D-BE80-4BC2-81D2-11D7D50D02ED}" destId="{914D23C3-8C2A-4FD7-866A-BBF1B02045D7}" srcOrd="3" destOrd="0" presId="urn:microsoft.com/office/officeart/2005/8/layout/chevron2"/>
    <dgm:cxn modelId="{70F1D994-17D3-4920-AF7A-BF7C391A7635}" type="presParOf" srcId="{9249CF5D-BE80-4BC2-81D2-11D7D50D02ED}" destId="{80F3FCC1-0905-4BE5-9035-03A0F53876F8}" srcOrd="4" destOrd="0" presId="urn:microsoft.com/office/officeart/2005/8/layout/chevron2"/>
    <dgm:cxn modelId="{2B555D9E-3E7E-4795-A384-EFEBCA603EAA}" type="presParOf" srcId="{80F3FCC1-0905-4BE5-9035-03A0F53876F8}" destId="{A463FD2C-FC80-4631-91EE-C7D0AAED45C9}" srcOrd="0" destOrd="0" presId="urn:microsoft.com/office/officeart/2005/8/layout/chevron2"/>
    <dgm:cxn modelId="{C1A61D7B-3946-450A-A1BD-BB917EDD4EFF}" type="presParOf" srcId="{80F3FCC1-0905-4BE5-9035-03A0F53876F8}" destId="{3C372053-07E3-4F26-B462-3AA5B053217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108752F0-4D24-465D-8A8E-C15C60F3C52E}" type="doc">
      <dgm:prSet loTypeId="urn:microsoft.com/office/officeart/2008/layout/PictureAccentLis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D38644-AB2A-4A35-B94B-FF450007151D}">
      <dgm:prSet phldrT="[Text]" custT="1"/>
      <dgm:spPr/>
      <dgm:t>
        <a:bodyPr/>
        <a:lstStyle/>
        <a:p>
          <a:r>
            <a:rPr lang="en-US" sz="1800" b="1" dirty="0" smtClean="0"/>
            <a:t>Execution Metrics</a:t>
          </a:r>
          <a:endParaRPr lang="en-US" sz="1800" b="1" dirty="0"/>
        </a:p>
      </dgm:t>
    </dgm:pt>
    <dgm:pt modelId="{6FFC74B7-71DB-48B4-8A54-EB4F6702BEBF}" type="parTrans" cxnId="{8950DBFE-664A-4D72-A023-03ADFD00B1FA}">
      <dgm:prSet/>
      <dgm:spPr/>
      <dgm:t>
        <a:bodyPr/>
        <a:lstStyle/>
        <a:p>
          <a:endParaRPr lang="en-US"/>
        </a:p>
      </dgm:t>
    </dgm:pt>
    <dgm:pt modelId="{09AB205E-BD65-41F5-8C0C-4969BC648B72}" type="sibTrans" cxnId="{8950DBFE-664A-4D72-A023-03ADFD00B1FA}">
      <dgm:prSet/>
      <dgm:spPr/>
      <dgm:t>
        <a:bodyPr/>
        <a:lstStyle/>
        <a:p>
          <a:endParaRPr lang="en-US"/>
        </a:p>
      </dgm:t>
    </dgm:pt>
    <dgm:pt modelId="{5CB85F5F-19B8-4107-A8CE-C529B648F5D9}">
      <dgm:prSet phldrT="[Text]" custT="1"/>
      <dgm:spPr/>
      <dgm:t>
        <a:bodyPr/>
        <a:lstStyle/>
        <a:p>
          <a:pPr algn="l"/>
          <a:r>
            <a:rPr lang="en-US" sz="1200" b="1" dirty="0" smtClean="0"/>
            <a:t>Total Test cases : </a:t>
          </a:r>
          <a:r>
            <a:rPr lang="en-US" sz="1200" b="1" dirty="0" smtClean="0"/>
            <a:t>~1100</a:t>
          </a:r>
          <a:endParaRPr lang="en-US" sz="1200" b="1" dirty="0"/>
        </a:p>
      </dgm:t>
    </dgm:pt>
    <dgm:pt modelId="{48C55605-A7D6-4FE6-A460-8422F6074EBB}" type="parTrans" cxnId="{FBC11822-8DF0-40B7-88F5-F64D21B3D370}">
      <dgm:prSet/>
      <dgm:spPr/>
      <dgm:t>
        <a:bodyPr/>
        <a:lstStyle/>
        <a:p>
          <a:endParaRPr lang="en-US"/>
        </a:p>
      </dgm:t>
    </dgm:pt>
    <dgm:pt modelId="{909ABFB4-B35C-4CCC-A5F5-E39C858E25CB}" type="sibTrans" cxnId="{FBC11822-8DF0-40B7-88F5-F64D21B3D370}">
      <dgm:prSet/>
      <dgm:spPr/>
      <dgm:t>
        <a:bodyPr/>
        <a:lstStyle/>
        <a:p>
          <a:endParaRPr lang="en-US"/>
        </a:p>
      </dgm:t>
    </dgm:pt>
    <dgm:pt modelId="{4F7B55A9-BD3F-4F62-BEA8-58D282B1E80F}">
      <dgm:prSet phldrT="[Text]" custT="1"/>
      <dgm:spPr/>
      <dgm:t>
        <a:bodyPr/>
        <a:lstStyle/>
        <a:p>
          <a:pPr algn="l"/>
          <a:r>
            <a:rPr lang="en-US" sz="1200" b="1" dirty="0" smtClean="0"/>
            <a:t>Total Iteration : ~8000</a:t>
          </a:r>
          <a:endParaRPr lang="en-US" sz="1200" b="1" dirty="0"/>
        </a:p>
      </dgm:t>
    </dgm:pt>
    <dgm:pt modelId="{B65D8C58-FB16-4003-809F-53B455296F96}" type="parTrans" cxnId="{C328127B-101E-4AD8-8481-7C74CDA13E68}">
      <dgm:prSet/>
      <dgm:spPr/>
      <dgm:t>
        <a:bodyPr/>
        <a:lstStyle/>
        <a:p>
          <a:endParaRPr lang="en-US"/>
        </a:p>
      </dgm:t>
    </dgm:pt>
    <dgm:pt modelId="{C51D520C-6710-4A64-90BC-46BDA783C476}" type="sibTrans" cxnId="{C328127B-101E-4AD8-8481-7C74CDA13E68}">
      <dgm:prSet/>
      <dgm:spPr/>
      <dgm:t>
        <a:bodyPr/>
        <a:lstStyle/>
        <a:p>
          <a:endParaRPr lang="en-US"/>
        </a:p>
      </dgm:t>
    </dgm:pt>
    <dgm:pt modelId="{05AFE506-F23B-4BFE-A5DE-1F30B89C520C}" type="pres">
      <dgm:prSet presAssocID="{108752F0-4D24-465D-8A8E-C15C60F3C52E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7A37542F-C8A1-448C-AC54-A99314898139}" type="pres">
      <dgm:prSet presAssocID="{9ED38644-AB2A-4A35-B94B-FF450007151D}" presName="root" presStyleCnt="0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60201012-24E0-46D2-AC1F-9D3AA75EA07A}" type="pres">
      <dgm:prSet presAssocID="{9ED38644-AB2A-4A35-B94B-FF450007151D}" presName="rootComposite" presStyleCnt="0">
        <dgm:presLayoutVars/>
      </dgm:prSet>
      <dgm:spPr/>
      <dgm:t>
        <a:bodyPr/>
        <a:lstStyle/>
        <a:p>
          <a:endParaRPr lang="en-US"/>
        </a:p>
      </dgm:t>
    </dgm:pt>
    <dgm:pt modelId="{BD8F9379-71EE-42EB-957B-8EA2FB696605}" type="pres">
      <dgm:prSet presAssocID="{9ED38644-AB2A-4A35-B94B-FF450007151D}" presName="rootText" presStyleLbl="node0" presStyleIdx="0" presStyleCnt="1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2320BBAF-E413-47F7-94BC-21950EE82C9D}" type="pres">
      <dgm:prSet presAssocID="{9ED38644-AB2A-4A35-B94B-FF450007151D}" presName="childShap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4827846A-31C7-4AC7-BA29-D81F5EDEDB56}" type="pres">
      <dgm:prSet presAssocID="{5CB85F5F-19B8-4107-A8CE-C529B648F5D9}" presName="childComposit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95DAB1C-0536-4BD2-AB0D-18AA5B341F2A}" type="pres">
      <dgm:prSet presAssocID="{5CB85F5F-19B8-4107-A8CE-C529B648F5D9}" presName="Image" presStyleLbl="node1" presStyleIdx="0" presStyleCnt="2"/>
      <dgm:spPr/>
      <dgm:t>
        <a:bodyPr/>
        <a:lstStyle/>
        <a:p>
          <a:endParaRPr lang="en-US"/>
        </a:p>
      </dgm:t>
    </dgm:pt>
    <dgm:pt modelId="{8AEA922F-84C3-4484-9066-279611015E49}" type="pres">
      <dgm:prSet presAssocID="{5CB85F5F-19B8-4107-A8CE-C529B648F5D9}" presName="childText" presStyleLbl="l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7B5B22-66EF-47D0-A83E-B1F92BED5238}" type="pres">
      <dgm:prSet presAssocID="{4F7B55A9-BD3F-4F62-BEA8-58D282B1E80F}" presName="childComposit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C457F737-2C16-4CB6-A1F7-52FE85A7C93D}" type="pres">
      <dgm:prSet presAssocID="{4F7B55A9-BD3F-4F62-BEA8-58D282B1E80F}" presName="Image" presStyleLbl="node1" presStyleIdx="1" presStyleCnt="2"/>
      <dgm:spPr/>
      <dgm:t>
        <a:bodyPr/>
        <a:lstStyle/>
        <a:p>
          <a:endParaRPr lang="en-US"/>
        </a:p>
      </dgm:t>
    </dgm:pt>
    <dgm:pt modelId="{511D945B-3148-4ADE-98AC-FF55C9D728E6}" type="pres">
      <dgm:prSet presAssocID="{4F7B55A9-BD3F-4F62-BEA8-58D282B1E80F}" presName="childText" presStyleLbl="l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6FF40E2-F022-4982-965E-D04E3B438B36}" type="presOf" srcId="{4F7B55A9-BD3F-4F62-BEA8-58D282B1E80F}" destId="{511D945B-3148-4ADE-98AC-FF55C9D728E6}" srcOrd="0" destOrd="0" presId="urn:microsoft.com/office/officeart/2008/layout/PictureAccentList"/>
    <dgm:cxn modelId="{C328127B-101E-4AD8-8481-7C74CDA13E68}" srcId="{9ED38644-AB2A-4A35-B94B-FF450007151D}" destId="{4F7B55A9-BD3F-4F62-BEA8-58D282B1E80F}" srcOrd="1" destOrd="0" parTransId="{B65D8C58-FB16-4003-809F-53B455296F96}" sibTransId="{C51D520C-6710-4A64-90BC-46BDA783C476}"/>
    <dgm:cxn modelId="{8950DBFE-664A-4D72-A023-03ADFD00B1FA}" srcId="{108752F0-4D24-465D-8A8E-C15C60F3C52E}" destId="{9ED38644-AB2A-4A35-B94B-FF450007151D}" srcOrd="0" destOrd="0" parTransId="{6FFC74B7-71DB-48B4-8A54-EB4F6702BEBF}" sibTransId="{09AB205E-BD65-41F5-8C0C-4969BC648B72}"/>
    <dgm:cxn modelId="{D651BB9D-2564-4843-9EF4-7AB274D75418}" type="presOf" srcId="{5CB85F5F-19B8-4107-A8CE-C529B648F5D9}" destId="{8AEA922F-84C3-4484-9066-279611015E49}" srcOrd="0" destOrd="0" presId="urn:microsoft.com/office/officeart/2008/layout/PictureAccentList"/>
    <dgm:cxn modelId="{7DEE1DB3-654A-4CE7-A332-6A14B7AC1958}" type="presOf" srcId="{9ED38644-AB2A-4A35-B94B-FF450007151D}" destId="{BD8F9379-71EE-42EB-957B-8EA2FB696605}" srcOrd="0" destOrd="0" presId="urn:microsoft.com/office/officeart/2008/layout/PictureAccentList"/>
    <dgm:cxn modelId="{6E10E43B-DBCF-45F8-AB4D-80A9510D87C5}" type="presOf" srcId="{108752F0-4D24-465D-8A8E-C15C60F3C52E}" destId="{05AFE506-F23B-4BFE-A5DE-1F30B89C520C}" srcOrd="0" destOrd="0" presId="urn:microsoft.com/office/officeart/2008/layout/PictureAccentList"/>
    <dgm:cxn modelId="{FBC11822-8DF0-40B7-88F5-F64D21B3D370}" srcId="{9ED38644-AB2A-4A35-B94B-FF450007151D}" destId="{5CB85F5F-19B8-4107-A8CE-C529B648F5D9}" srcOrd="0" destOrd="0" parTransId="{48C55605-A7D6-4FE6-A460-8422F6074EBB}" sibTransId="{909ABFB4-B35C-4CCC-A5F5-E39C858E25CB}"/>
    <dgm:cxn modelId="{6B345555-A396-4D09-B98F-5D707D315C8B}" type="presParOf" srcId="{05AFE506-F23B-4BFE-A5DE-1F30B89C520C}" destId="{7A37542F-C8A1-448C-AC54-A99314898139}" srcOrd="0" destOrd="0" presId="urn:microsoft.com/office/officeart/2008/layout/PictureAccentList"/>
    <dgm:cxn modelId="{06A0CD0C-7810-42F0-9B7E-1A7B80E65CA8}" type="presParOf" srcId="{7A37542F-C8A1-448C-AC54-A99314898139}" destId="{60201012-24E0-46D2-AC1F-9D3AA75EA07A}" srcOrd="0" destOrd="0" presId="urn:microsoft.com/office/officeart/2008/layout/PictureAccentList"/>
    <dgm:cxn modelId="{4ADFC933-D2EA-4D2D-892C-E289B18BB1DB}" type="presParOf" srcId="{60201012-24E0-46D2-AC1F-9D3AA75EA07A}" destId="{BD8F9379-71EE-42EB-957B-8EA2FB696605}" srcOrd="0" destOrd="0" presId="urn:microsoft.com/office/officeart/2008/layout/PictureAccentList"/>
    <dgm:cxn modelId="{3FECDFD3-A328-4E7D-A9DB-D0FBC656054C}" type="presParOf" srcId="{7A37542F-C8A1-448C-AC54-A99314898139}" destId="{2320BBAF-E413-47F7-94BC-21950EE82C9D}" srcOrd="1" destOrd="0" presId="urn:microsoft.com/office/officeart/2008/layout/PictureAccentList"/>
    <dgm:cxn modelId="{5E603E38-7CFD-46A4-8296-B230FC2207A2}" type="presParOf" srcId="{2320BBAF-E413-47F7-94BC-21950EE82C9D}" destId="{4827846A-31C7-4AC7-BA29-D81F5EDEDB56}" srcOrd="0" destOrd="0" presId="urn:microsoft.com/office/officeart/2008/layout/PictureAccentList"/>
    <dgm:cxn modelId="{DC6DDC71-068B-43EB-9519-F1CDD3148D91}" type="presParOf" srcId="{4827846A-31C7-4AC7-BA29-D81F5EDEDB56}" destId="{795DAB1C-0536-4BD2-AB0D-18AA5B341F2A}" srcOrd="0" destOrd="0" presId="urn:microsoft.com/office/officeart/2008/layout/PictureAccentList"/>
    <dgm:cxn modelId="{D7995603-312B-4A29-8422-EA84A252EFAD}" type="presParOf" srcId="{4827846A-31C7-4AC7-BA29-D81F5EDEDB56}" destId="{8AEA922F-84C3-4484-9066-279611015E49}" srcOrd="1" destOrd="0" presId="urn:microsoft.com/office/officeart/2008/layout/PictureAccentList"/>
    <dgm:cxn modelId="{659A8ED8-5A07-441D-A9A0-C56EB6EBB319}" type="presParOf" srcId="{2320BBAF-E413-47F7-94BC-21950EE82C9D}" destId="{567B5B22-66EF-47D0-A83E-B1F92BED5238}" srcOrd="1" destOrd="0" presId="urn:microsoft.com/office/officeart/2008/layout/PictureAccentList"/>
    <dgm:cxn modelId="{24D57795-1811-4D40-BD37-19BF10B882A8}" type="presParOf" srcId="{567B5B22-66EF-47D0-A83E-B1F92BED5238}" destId="{C457F737-2C16-4CB6-A1F7-52FE85A7C93D}" srcOrd="0" destOrd="0" presId="urn:microsoft.com/office/officeart/2008/layout/PictureAccentList"/>
    <dgm:cxn modelId="{97496A85-EDBA-43F7-AF24-643374E1A737}" type="presParOf" srcId="{567B5B22-66EF-47D0-A83E-B1F92BED5238}" destId="{511D945B-3148-4ADE-98AC-FF55C9D728E6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108752F0-4D24-465D-8A8E-C15C60F3C52E}" type="doc">
      <dgm:prSet loTypeId="urn:microsoft.com/office/officeart/2008/layout/PictureAccentLis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D38644-AB2A-4A35-B94B-FF450007151D}">
      <dgm:prSet phldrT="[Text]" custT="1"/>
      <dgm:spPr/>
      <dgm:t>
        <a:bodyPr/>
        <a:lstStyle/>
        <a:p>
          <a:r>
            <a:rPr lang="en-US" sz="1800" b="1" dirty="0" smtClean="0"/>
            <a:t>Automation</a:t>
          </a:r>
          <a:endParaRPr lang="en-US" sz="1800" b="1" dirty="0"/>
        </a:p>
      </dgm:t>
    </dgm:pt>
    <dgm:pt modelId="{6FFC74B7-71DB-48B4-8A54-EB4F6702BEBF}" type="parTrans" cxnId="{8950DBFE-664A-4D72-A023-03ADFD00B1FA}">
      <dgm:prSet/>
      <dgm:spPr/>
      <dgm:t>
        <a:bodyPr/>
        <a:lstStyle/>
        <a:p>
          <a:endParaRPr lang="en-US"/>
        </a:p>
      </dgm:t>
    </dgm:pt>
    <dgm:pt modelId="{09AB205E-BD65-41F5-8C0C-4969BC648B72}" type="sibTrans" cxnId="{8950DBFE-664A-4D72-A023-03ADFD00B1FA}">
      <dgm:prSet/>
      <dgm:spPr/>
      <dgm:t>
        <a:bodyPr/>
        <a:lstStyle/>
        <a:p>
          <a:endParaRPr lang="en-US"/>
        </a:p>
      </dgm:t>
    </dgm:pt>
    <dgm:pt modelId="{16A4E474-4B93-45D3-A876-3A1FB21D6221}">
      <dgm:prSet phldrT="[Text]" custT="1"/>
      <dgm:spPr/>
      <dgm:t>
        <a:bodyPr/>
        <a:lstStyle/>
        <a:p>
          <a:pPr algn="l"/>
          <a:r>
            <a:rPr lang="en-US" sz="1200" b="1" dirty="0" smtClean="0"/>
            <a:t>Execution </a:t>
          </a:r>
          <a:r>
            <a:rPr lang="en-US" sz="1200" b="1" dirty="0" smtClean="0"/>
            <a:t>Time : </a:t>
          </a:r>
          <a:r>
            <a:rPr lang="en-US" sz="1200" b="1" dirty="0" smtClean="0"/>
            <a:t>~30 </a:t>
          </a:r>
          <a:r>
            <a:rPr lang="en-US" sz="1200" b="1" dirty="0" smtClean="0"/>
            <a:t>days</a:t>
          </a:r>
          <a:endParaRPr lang="en-US" sz="1200" b="1" dirty="0"/>
        </a:p>
      </dgm:t>
    </dgm:pt>
    <dgm:pt modelId="{261D991F-FAC9-4496-A80F-63936E8CC76E}" type="parTrans" cxnId="{7F499BDD-7926-4C9C-B044-A62AD925504C}">
      <dgm:prSet/>
      <dgm:spPr/>
      <dgm:t>
        <a:bodyPr/>
        <a:lstStyle/>
        <a:p>
          <a:endParaRPr lang="en-US"/>
        </a:p>
      </dgm:t>
    </dgm:pt>
    <dgm:pt modelId="{748C2F33-2677-4FDA-9F98-C760E38436DE}" type="sibTrans" cxnId="{7F499BDD-7926-4C9C-B044-A62AD925504C}">
      <dgm:prSet/>
      <dgm:spPr/>
      <dgm:t>
        <a:bodyPr/>
        <a:lstStyle/>
        <a:p>
          <a:endParaRPr lang="en-US"/>
        </a:p>
      </dgm:t>
    </dgm:pt>
    <dgm:pt modelId="{A98E4F63-ED4B-4230-A90C-8A7D9F067787}">
      <dgm:prSet phldrT="[Text]" custT="1"/>
      <dgm:spPr/>
      <dgm:t>
        <a:bodyPr/>
        <a:lstStyle/>
        <a:p>
          <a:pPr algn="l"/>
          <a:r>
            <a:rPr lang="en-US" sz="1200" b="1" dirty="0" smtClean="0"/>
            <a:t>Number </a:t>
          </a:r>
          <a:r>
            <a:rPr lang="en-US" sz="1200" b="1" dirty="0" smtClean="0"/>
            <a:t>of Employees : </a:t>
          </a:r>
          <a:r>
            <a:rPr lang="en-US" sz="1200" b="1" dirty="0" smtClean="0"/>
            <a:t>6</a:t>
          </a:r>
          <a:endParaRPr lang="en-US" sz="1200" b="1" dirty="0"/>
        </a:p>
      </dgm:t>
    </dgm:pt>
    <dgm:pt modelId="{0BACD47C-B709-4DA7-B309-E625425BC563}" type="parTrans" cxnId="{BD0A438D-B862-4C52-B67D-59CA2F1C576A}">
      <dgm:prSet/>
      <dgm:spPr/>
      <dgm:t>
        <a:bodyPr/>
        <a:lstStyle/>
        <a:p>
          <a:endParaRPr lang="en-US"/>
        </a:p>
      </dgm:t>
    </dgm:pt>
    <dgm:pt modelId="{866FE5CC-898C-44D4-A5FF-41C21D398269}" type="sibTrans" cxnId="{BD0A438D-B862-4C52-B67D-59CA2F1C576A}">
      <dgm:prSet/>
      <dgm:spPr/>
      <dgm:t>
        <a:bodyPr/>
        <a:lstStyle/>
        <a:p>
          <a:endParaRPr lang="en-US"/>
        </a:p>
      </dgm:t>
    </dgm:pt>
    <dgm:pt modelId="{05AFE506-F23B-4BFE-A5DE-1F30B89C520C}" type="pres">
      <dgm:prSet presAssocID="{108752F0-4D24-465D-8A8E-C15C60F3C52E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7A37542F-C8A1-448C-AC54-A99314898139}" type="pres">
      <dgm:prSet presAssocID="{9ED38644-AB2A-4A35-B94B-FF450007151D}" presName="root" presStyleCnt="0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60201012-24E0-46D2-AC1F-9D3AA75EA07A}" type="pres">
      <dgm:prSet presAssocID="{9ED38644-AB2A-4A35-B94B-FF450007151D}" presName="rootComposite" presStyleCnt="0">
        <dgm:presLayoutVars/>
      </dgm:prSet>
      <dgm:spPr/>
      <dgm:t>
        <a:bodyPr/>
        <a:lstStyle/>
        <a:p>
          <a:endParaRPr lang="en-US"/>
        </a:p>
      </dgm:t>
    </dgm:pt>
    <dgm:pt modelId="{BD8F9379-71EE-42EB-957B-8EA2FB696605}" type="pres">
      <dgm:prSet presAssocID="{9ED38644-AB2A-4A35-B94B-FF450007151D}" presName="rootText" presStyleLbl="node0" presStyleIdx="0" presStyleCnt="1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2320BBAF-E413-47F7-94BC-21950EE82C9D}" type="pres">
      <dgm:prSet presAssocID="{9ED38644-AB2A-4A35-B94B-FF450007151D}" presName="childShap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9A9040F9-1744-471C-B7C4-611B67B0869A}" type="pres">
      <dgm:prSet presAssocID="{16A4E474-4B93-45D3-A876-3A1FB21D6221}" presName="childComposit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320FEDFA-5575-4576-9F3C-7F0B382A3764}" type="pres">
      <dgm:prSet presAssocID="{16A4E474-4B93-45D3-A876-3A1FB21D6221}" presName="Image" presStyleLbl="node1" presStyleIdx="0" presStyleCnt="2"/>
      <dgm:spPr/>
      <dgm:t>
        <a:bodyPr/>
        <a:lstStyle/>
        <a:p>
          <a:endParaRPr lang="en-US"/>
        </a:p>
      </dgm:t>
    </dgm:pt>
    <dgm:pt modelId="{0F104C73-5376-412F-81CA-4558188DD901}" type="pres">
      <dgm:prSet presAssocID="{16A4E474-4B93-45D3-A876-3A1FB21D6221}" presName="childText" presStyleLbl="l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DA6B9A-9B48-4140-9589-B15514B81ACD}" type="pres">
      <dgm:prSet presAssocID="{A98E4F63-ED4B-4230-A90C-8A7D9F067787}" presName="childComposit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38711EB-9DC8-4ABA-84EC-2618354B553F}" type="pres">
      <dgm:prSet presAssocID="{A98E4F63-ED4B-4230-A90C-8A7D9F067787}" presName="Image" presStyleLbl="node1" presStyleIdx="1" presStyleCnt="2"/>
      <dgm:spPr/>
      <dgm:t>
        <a:bodyPr/>
        <a:lstStyle/>
        <a:p>
          <a:endParaRPr lang="en-US"/>
        </a:p>
      </dgm:t>
    </dgm:pt>
    <dgm:pt modelId="{F5A838E5-8280-43B6-BDBB-507002475E16}" type="pres">
      <dgm:prSet presAssocID="{A98E4F63-ED4B-4230-A90C-8A7D9F067787}" presName="childText" presStyleLbl="l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F47676D-9106-446A-A28F-261C3F216721}" type="presOf" srcId="{16A4E474-4B93-45D3-A876-3A1FB21D6221}" destId="{0F104C73-5376-412F-81CA-4558188DD901}" srcOrd="0" destOrd="0" presId="urn:microsoft.com/office/officeart/2008/layout/PictureAccentList"/>
    <dgm:cxn modelId="{BD0A438D-B862-4C52-B67D-59CA2F1C576A}" srcId="{9ED38644-AB2A-4A35-B94B-FF450007151D}" destId="{A98E4F63-ED4B-4230-A90C-8A7D9F067787}" srcOrd="1" destOrd="0" parTransId="{0BACD47C-B709-4DA7-B309-E625425BC563}" sibTransId="{866FE5CC-898C-44D4-A5FF-41C21D398269}"/>
    <dgm:cxn modelId="{7F499BDD-7926-4C9C-B044-A62AD925504C}" srcId="{9ED38644-AB2A-4A35-B94B-FF450007151D}" destId="{16A4E474-4B93-45D3-A876-3A1FB21D6221}" srcOrd="0" destOrd="0" parTransId="{261D991F-FAC9-4496-A80F-63936E8CC76E}" sibTransId="{748C2F33-2677-4FDA-9F98-C760E38436DE}"/>
    <dgm:cxn modelId="{8950DBFE-664A-4D72-A023-03ADFD00B1FA}" srcId="{108752F0-4D24-465D-8A8E-C15C60F3C52E}" destId="{9ED38644-AB2A-4A35-B94B-FF450007151D}" srcOrd="0" destOrd="0" parTransId="{6FFC74B7-71DB-48B4-8A54-EB4F6702BEBF}" sibTransId="{09AB205E-BD65-41F5-8C0C-4969BC648B72}"/>
    <dgm:cxn modelId="{D01F8D4E-4C0C-4E7A-A58D-257626AC5ED4}" type="presOf" srcId="{A98E4F63-ED4B-4230-A90C-8A7D9F067787}" destId="{F5A838E5-8280-43B6-BDBB-507002475E16}" srcOrd="0" destOrd="0" presId="urn:microsoft.com/office/officeart/2008/layout/PictureAccentList"/>
    <dgm:cxn modelId="{E6A3F553-250E-421E-A28E-E528AE827670}" type="presOf" srcId="{108752F0-4D24-465D-8A8E-C15C60F3C52E}" destId="{05AFE506-F23B-4BFE-A5DE-1F30B89C520C}" srcOrd="0" destOrd="0" presId="urn:microsoft.com/office/officeart/2008/layout/PictureAccentList"/>
    <dgm:cxn modelId="{FDC392DB-5C39-4FCD-AD4F-B96AC6DC39CE}" type="presOf" srcId="{9ED38644-AB2A-4A35-B94B-FF450007151D}" destId="{BD8F9379-71EE-42EB-957B-8EA2FB696605}" srcOrd="0" destOrd="0" presId="urn:microsoft.com/office/officeart/2008/layout/PictureAccentList"/>
    <dgm:cxn modelId="{25B9A716-015B-4B20-93AC-DA97A489E060}" type="presParOf" srcId="{05AFE506-F23B-4BFE-A5DE-1F30B89C520C}" destId="{7A37542F-C8A1-448C-AC54-A99314898139}" srcOrd="0" destOrd="0" presId="urn:microsoft.com/office/officeart/2008/layout/PictureAccentList"/>
    <dgm:cxn modelId="{4191C387-A711-4AF2-831E-629ECE0B8284}" type="presParOf" srcId="{7A37542F-C8A1-448C-AC54-A99314898139}" destId="{60201012-24E0-46D2-AC1F-9D3AA75EA07A}" srcOrd="0" destOrd="0" presId="urn:microsoft.com/office/officeart/2008/layout/PictureAccentList"/>
    <dgm:cxn modelId="{1BD8E7E6-75A8-4C11-8FAB-1CF3A8E15F95}" type="presParOf" srcId="{60201012-24E0-46D2-AC1F-9D3AA75EA07A}" destId="{BD8F9379-71EE-42EB-957B-8EA2FB696605}" srcOrd="0" destOrd="0" presId="urn:microsoft.com/office/officeart/2008/layout/PictureAccentList"/>
    <dgm:cxn modelId="{2B269BC9-60BA-4210-AA02-80D1DFD5E5E2}" type="presParOf" srcId="{7A37542F-C8A1-448C-AC54-A99314898139}" destId="{2320BBAF-E413-47F7-94BC-21950EE82C9D}" srcOrd="1" destOrd="0" presId="urn:microsoft.com/office/officeart/2008/layout/PictureAccentList"/>
    <dgm:cxn modelId="{B4A8A523-7E64-4026-8042-0137BED1A9B8}" type="presParOf" srcId="{2320BBAF-E413-47F7-94BC-21950EE82C9D}" destId="{9A9040F9-1744-471C-B7C4-611B67B0869A}" srcOrd="0" destOrd="0" presId="urn:microsoft.com/office/officeart/2008/layout/PictureAccentList"/>
    <dgm:cxn modelId="{26E9A7D9-3DD3-485D-8B12-4D6CD3D781A5}" type="presParOf" srcId="{9A9040F9-1744-471C-B7C4-611B67B0869A}" destId="{320FEDFA-5575-4576-9F3C-7F0B382A3764}" srcOrd="0" destOrd="0" presId="urn:microsoft.com/office/officeart/2008/layout/PictureAccentList"/>
    <dgm:cxn modelId="{77FA5F3F-D5B5-4942-94C9-D984423F954C}" type="presParOf" srcId="{9A9040F9-1744-471C-B7C4-611B67B0869A}" destId="{0F104C73-5376-412F-81CA-4558188DD901}" srcOrd="1" destOrd="0" presId="urn:microsoft.com/office/officeart/2008/layout/PictureAccentList"/>
    <dgm:cxn modelId="{FF1AC694-C4F1-4E15-8682-F5978737294A}" type="presParOf" srcId="{2320BBAF-E413-47F7-94BC-21950EE82C9D}" destId="{44DA6B9A-9B48-4140-9589-B15514B81ACD}" srcOrd="1" destOrd="0" presId="urn:microsoft.com/office/officeart/2008/layout/PictureAccentList"/>
    <dgm:cxn modelId="{9A2D6504-F9D6-4125-A31F-82F84A101277}" type="presParOf" srcId="{44DA6B9A-9B48-4140-9589-B15514B81ACD}" destId="{838711EB-9DC8-4ABA-84EC-2618354B553F}" srcOrd="0" destOrd="0" presId="urn:microsoft.com/office/officeart/2008/layout/PictureAccentList"/>
    <dgm:cxn modelId="{CD23DF3C-672F-49FF-9FF7-8FF6A562A6E8}" type="presParOf" srcId="{44DA6B9A-9B48-4140-9589-B15514B81ACD}" destId="{F5A838E5-8280-43B6-BDBB-507002475E16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108752F0-4D24-465D-8A8E-C15C60F3C52E}" type="doc">
      <dgm:prSet loTypeId="urn:microsoft.com/office/officeart/2008/layout/PictureAccentLis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D38644-AB2A-4A35-B94B-FF450007151D}">
      <dgm:prSet phldrT="[Text]" custT="1"/>
      <dgm:spPr/>
      <dgm:t>
        <a:bodyPr/>
        <a:lstStyle/>
        <a:p>
          <a:r>
            <a:rPr lang="en-US" sz="1800" b="1" dirty="0" smtClean="0"/>
            <a:t>TC Parallel</a:t>
          </a:r>
          <a:endParaRPr lang="en-US" sz="1800" b="1" dirty="0"/>
        </a:p>
      </dgm:t>
    </dgm:pt>
    <dgm:pt modelId="{6FFC74B7-71DB-48B4-8A54-EB4F6702BEBF}" type="parTrans" cxnId="{8950DBFE-664A-4D72-A023-03ADFD00B1FA}">
      <dgm:prSet/>
      <dgm:spPr/>
      <dgm:t>
        <a:bodyPr/>
        <a:lstStyle/>
        <a:p>
          <a:endParaRPr lang="en-US"/>
        </a:p>
      </dgm:t>
    </dgm:pt>
    <dgm:pt modelId="{09AB205E-BD65-41F5-8C0C-4969BC648B72}" type="sibTrans" cxnId="{8950DBFE-664A-4D72-A023-03ADFD00B1FA}">
      <dgm:prSet/>
      <dgm:spPr/>
      <dgm:t>
        <a:bodyPr/>
        <a:lstStyle/>
        <a:p>
          <a:endParaRPr lang="en-US"/>
        </a:p>
      </dgm:t>
    </dgm:pt>
    <dgm:pt modelId="{16A4E474-4B93-45D3-A876-3A1FB21D6221}">
      <dgm:prSet phldrT="[Text]" custT="1"/>
      <dgm:spPr/>
      <dgm:t>
        <a:bodyPr/>
        <a:lstStyle/>
        <a:p>
          <a:pPr algn="l"/>
          <a:r>
            <a:rPr lang="en-US" sz="1200" b="1" dirty="0" smtClean="0"/>
            <a:t>Execution </a:t>
          </a:r>
          <a:r>
            <a:rPr lang="en-US" sz="1200" b="1" dirty="0" smtClean="0"/>
            <a:t>Time : </a:t>
          </a:r>
          <a:r>
            <a:rPr lang="en-US" sz="1200" b="1" dirty="0" smtClean="0"/>
            <a:t>~15 </a:t>
          </a:r>
          <a:r>
            <a:rPr lang="en-US" sz="1200" b="1" dirty="0" smtClean="0"/>
            <a:t>days</a:t>
          </a:r>
          <a:endParaRPr lang="en-US" sz="1200" b="1" dirty="0"/>
        </a:p>
      </dgm:t>
    </dgm:pt>
    <dgm:pt modelId="{261D991F-FAC9-4496-A80F-63936E8CC76E}" type="parTrans" cxnId="{7F499BDD-7926-4C9C-B044-A62AD925504C}">
      <dgm:prSet/>
      <dgm:spPr/>
      <dgm:t>
        <a:bodyPr/>
        <a:lstStyle/>
        <a:p>
          <a:endParaRPr lang="en-US"/>
        </a:p>
      </dgm:t>
    </dgm:pt>
    <dgm:pt modelId="{748C2F33-2677-4FDA-9F98-C760E38436DE}" type="sibTrans" cxnId="{7F499BDD-7926-4C9C-B044-A62AD925504C}">
      <dgm:prSet/>
      <dgm:spPr/>
      <dgm:t>
        <a:bodyPr/>
        <a:lstStyle/>
        <a:p>
          <a:endParaRPr lang="en-US"/>
        </a:p>
      </dgm:t>
    </dgm:pt>
    <dgm:pt modelId="{A98E4F63-ED4B-4230-A90C-8A7D9F067787}">
      <dgm:prSet phldrT="[Text]" custT="1"/>
      <dgm:spPr/>
      <dgm:t>
        <a:bodyPr/>
        <a:lstStyle/>
        <a:p>
          <a:pPr algn="l"/>
          <a:r>
            <a:rPr lang="en-US" sz="1200" b="1" dirty="0" smtClean="0"/>
            <a:t>Number </a:t>
          </a:r>
          <a:r>
            <a:rPr lang="en-US" sz="1200" b="1" dirty="0" smtClean="0"/>
            <a:t>of Employees : </a:t>
          </a:r>
          <a:r>
            <a:rPr lang="en-US" sz="1200" b="1" dirty="0" smtClean="0"/>
            <a:t>4</a:t>
          </a:r>
          <a:endParaRPr lang="en-US" sz="1200" b="1" dirty="0"/>
        </a:p>
      </dgm:t>
    </dgm:pt>
    <dgm:pt modelId="{0BACD47C-B709-4DA7-B309-E625425BC563}" type="parTrans" cxnId="{BD0A438D-B862-4C52-B67D-59CA2F1C576A}">
      <dgm:prSet/>
      <dgm:spPr/>
      <dgm:t>
        <a:bodyPr/>
        <a:lstStyle/>
        <a:p>
          <a:endParaRPr lang="en-US"/>
        </a:p>
      </dgm:t>
    </dgm:pt>
    <dgm:pt modelId="{866FE5CC-898C-44D4-A5FF-41C21D398269}" type="sibTrans" cxnId="{BD0A438D-B862-4C52-B67D-59CA2F1C576A}">
      <dgm:prSet/>
      <dgm:spPr/>
      <dgm:t>
        <a:bodyPr/>
        <a:lstStyle/>
        <a:p>
          <a:endParaRPr lang="en-US"/>
        </a:p>
      </dgm:t>
    </dgm:pt>
    <dgm:pt modelId="{05AFE506-F23B-4BFE-A5DE-1F30B89C520C}" type="pres">
      <dgm:prSet presAssocID="{108752F0-4D24-465D-8A8E-C15C60F3C52E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7A37542F-C8A1-448C-AC54-A99314898139}" type="pres">
      <dgm:prSet presAssocID="{9ED38644-AB2A-4A35-B94B-FF450007151D}" presName="root" presStyleCnt="0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60201012-24E0-46D2-AC1F-9D3AA75EA07A}" type="pres">
      <dgm:prSet presAssocID="{9ED38644-AB2A-4A35-B94B-FF450007151D}" presName="rootComposite" presStyleCnt="0">
        <dgm:presLayoutVars/>
      </dgm:prSet>
      <dgm:spPr/>
      <dgm:t>
        <a:bodyPr/>
        <a:lstStyle/>
        <a:p>
          <a:endParaRPr lang="en-US"/>
        </a:p>
      </dgm:t>
    </dgm:pt>
    <dgm:pt modelId="{BD8F9379-71EE-42EB-957B-8EA2FB696605}" type="pres">
      <dgm:prSet presAssocID="{9ED38644-AB2A-4A35-B94B-FF450007151D}" presName="rootText" presStyleLbl="node0" presStyleIdx="0" presStyleCnt="1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2320BBAF-E413-47F7-94BC-21950EE82C9D}" type="pres">
      <dgm:prSet presAssocID="{9ED38644-AB2A-4A35-B94B-FF450007151D}" presName="childShap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9A9040F9-1744-471C-B7C4-611B67B0869A}" type="pres">
      <dgm:prSet presAssocID="{16A4E474-4B93-45D3-A876-3A1FB21D6221}" presName="childComposit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320FEDFA-5575-4576-9F3C-7F0B382A3764}" type="pres">
      <dgm:prSet presAssocID="{16A4E474-4B93-45D3-A876-3A1FB21D6221}" presName="Image" presStyleLbl="node1" presStyleIdx="0" presStyleCnt="2"/>
      <dgm:spPr/>
      <dgm:t>
        <a:bodyPr/>
        <a:lstStyle/>
        <a:p>
          <a:endParaRPr lang="en-US"/>
        </a:p>
      </dgm:t>
    </dgm:pt>
    <dgm:pt modelId="{0F104C73-5376-412F-81CA-4558188DD901}" type="pres">
      <dgm:prSet presAssocID="{16A4E474-4B93-45D3-A876-3A1FB21D6221}" presName="childText" presStyleLbl="l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DA6B9A-9B48-4140-9589-B15514B81ACD}" type="pres">
      <dgm:prSet presAssocID="{A98E4F63-ED4B-4230-A90C-8A7D9F067787}" presName="childComposit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38711EB-9DC8-4ABA-84EC-2618354B553F}" type="pres">
      <dgm:prSet presAssocID="{A98E4F63-ED4B-4230-A90C-8A7D9F067787}" presName="Image" presStyleLbl="node1" presStyleIdx="1" presStyleCnt="2"/>
      <dgm:spPr/>
      <dgm:t>
        <a:bodyPr/>
        <a:lstStyle/>
        <a:p>
          <a:endParaRPr lang="en-US"/>
        </a:p>
      </dgm:t>
    </dgm:pt>
    <dgm:pt modelId="{F5A838E5-8280-43B6-BDBB-507002475E16}" type="pres">
      <dgm:prSet presAssocID="{A98E4F63-ED4B-4230-A90C-8A7D9F067787}" presName="childText" presStyleLbl="lnNode1" presStyleIdx="1" presStyleCnt="2" custLinFactNeighborX="23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F499BDD-7926-4C9C-B044-A62AD925504C}" srcId="{9ED38644-AB2A-4A35-B94B-FF450007151D}" destId="{16A4E474-4B93-45D3-A876-3A1FB21D6221}" srcOrd="0" destOrd="0" parTransId="{261D991F-FAC9-4496-A80F-63936E8CC76E}" sibTransId="{748C2F33-2677-4FDA-9F98-C760E38436DE}"/>
    <dgm:cxn modelId="{29214049-680A-496D-9C0E-5EBDBA4BEAB8}" type="presOf" srcId="{A98E4F63-ED4B-4230-A90C-8A7D9F067787}" destId="{F5A838E5-8280-43B6-BDBB-507002475E16}" srcOrd="0" destOrd="0" presId="urn:microsoft.com/office/officeart/2008/layout/PictureAccentList"/>
    <dgm:cxn modelId="{4C1F7B07-1132-4F5F-AD49-A83BF7535BC8}" type="presOf" srcId="{108752F0-4D24-465D-8A8E-C15C60F3C52E}" destId="{05AFE506-F23B-4BFE-A5DE-1F30B89C520C}" srcOrd="0" destOrd="0" presId="urn:microsoft.com/office/officeart/2008/layout/PictureAccentList"/>
    <dgm:cxn modelId="{7360D04D-445E-4158-9B9A-5B1EB36BAD56}" type="presOf" srcId="{16A4E474-4B93-45D3-A876-3A1FB21D6221}" destId="{0F104C73-5376-412F-81CA-4558188DD901}" srcOrd="0" destOrd="0" presId="urn:microsoft.com/office/officeart/2008/layout/PictureAccentList"/>
    <dgm:cxn modelId="{8950DBFE-664A-4D72-A023-03ADFD00B1FA}" srcId="{108752F0-4D24-465D-8A8E-C15C60F3C52E}" destId="{9ED38644-AB2A-4A35-B94B-FF450007151D}" srcOrd="0" destOrd="0" parTransId="{6FFC74B7-71DB-48B4-8A54-EB4F6702BEBF}" sibTransId="{09AB205E-BD65-41F5-8C0C-4969BC648B72}"/>
    <dgm:cxn modelId="{220B3446-4C97-4431-ACD0-9637CEC1ADCA}" type="presOf" srcId="{9ED38644-AB2A-4A35-B94B-FF450007151D}" destId="{BD8F9379-71EE-42EB-957B-8EA2FB696605}" srcOrd="0" destOrd="0" presId="urn:microsoft.com/office/officeart/2008/layout/PictureAccentList"/>
    <dgm:cxn modelId="{BD0A438D-B862-4C52-B67D-59CA2F1C576A}" srcId="{9ED38644-AB2A-4A35-B94B-FF450007151D}" destId="{A98E4F63-ED4B-4230-A90C-8A7D9F067787}" srcOrd="1" destOrd="0" parTransId="{0BACD47C-B709-4DA7-B309-E625425BC563}" sibTransId="{866FE5CC-898C-44D4-A5FF-41C21D398269}"/>
    <dgm:cxn modelId="{D0DBA8A8-49EF-44D7-9F25-9E991512C076}" type="presParOf" srcId="{05AFE506-F23B-4BFE-A5DE-1F30B89C520C}" destId="{7A37542F-C8A1-448C-AC54-A99314898139}" srcOrd="0" destOrd="0" presId="urn:microsoft.com/office/officeart/2008/layout/PictureAccentList"/>
    <dgm:cxn modelId="{D2CAFE53-657F-4696-8C13-1653B53D7B3A}" type="presParOf" srcId="{7A37542F-C8A1-448C-AC54-A99314898139}" destId="{60201012-24E0-46D2-AC1F-9D3AA75EA07A}" srcOrd="0" destOrd="0" presId="urn:microsoft.com/office/officeart/2008/layout/PictureAccentList"/>
    <dgm:cxn modelId="{7B0326D7-98C6-45B3-95AC-B14517248697}" type="presParOf" srcId="{60201012-24E0-46D2-AC1F-9D3AA75EA07A}" destId="{BD8F9379-71EE-42EB-957B-8EA2FB696605}" srcOrd="0" destOrd="0" presId="urn:microsoft.com/office/officeart/2008/layout/PictureAccentList"/>
    <dgm:cxn modelId="{5C95D33F-9F51-4D7D-B08E-44B0E9D752F0}" type="presParOf" srcId="{7A37542F-C8A1-448C-AC54-A99314898139}" destId="{2320BBAF-E413-47F7-94BC-21950EE82C9D}" srcOrd="1" destOrd="0" presId="urn:microsoft.com/office/officeart/2008/layout/PictureAccentList"/>
    <dgm:cxn modelId="{6FB5435F-664B-4C45-BE1F-2E7D09B8B634}" type="presParOf" srcId="{2320BBAF-E413-47F7-94BC-21950EE82C9D}" destId="{9A9040F9-1744-471C-B7C4-611B67B0869A}" srcOrd="0" destOrd="0" presId="urn:microsoft.com/office/officeart/2008/layout/PictureAccentList"/>
    <dgm:cxn modelId="{48EBBF93-E898-494C-9EFC-CF1C6A28C68C}" type="presParOf" srcId="{9A9040F9-1744-471C-B7C4-611B67B0869A}" destId="{320FEDFA-5575-4576-9F3C-7F0B382A3764}" srcOrd="0" destOrd="0" presId="urn:microsoft.com/office/officeart/2008/layout/PictureAccentList"/>
    <dgm:cxn modelId="{2E48CC55-F067-4EEE-B161-569A2DF1541A}" type="presParOf" srcId="{9A9040F9-1744-471C-B7C4-611B67B0869A}" destId="{0F104C73-5376-412F-81CA-4558188DD901}" srcOrd="1" destOrd="0" presId="urn:microsoft.com/office/officeart/2008/layout/PictureAccentList"/>
    <dgm:cxn modelId="{769B99EA-9772-4810-AAEB-B3E26F445AA3}" type="presParOf" srcId="{2320BBAF-E413-47F7-94BC-21950EE82C9D}" destId="{44DA6B9A-9B48-4140-9589-B15514B81ACD}" srcOrd="1" destOrd="0" presId="urn:microsoft.com/office/officeart/2008/layout/PictureAccentList"/>
    <dgm:cxn modelId="{BA16A854-C851-4B99-A3A0-85E7C11BE873}" type="presParOf" srcId="{44DA6B9A-9B48-4140-9589-B15514B81ACD}" destId="{838711EB-9DC8-4ABA-84EC-2618354B553F}" srcOrd="0" destOrd="0" presId="urn:microsoft.com/office/officeart/2008/layout/PictureAccentList"/>
    <dgm:cxn modelId="{D942AD3E-8F00-486F-922B-D6B1F72C7096}" type="presParOf" srcId="{44DA6B9A-9B48-4140-9589-B15514B81ACD}" destId="{F5A838E5-8280-43B6-BDBB-507002475E16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108752F0-4D24-465D-8A8E-C15C60F3C52E}" type="doc">
      <dgm:prSet loTypeId="urn:microsoft.com/office/officeart/2008/layout/PictureAccentLis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D38644-AB2A-4A35-B94B-FF450007151D}">
      <dgm:prSet phldrT="[Text]" custT="1"/>
      <dgm:spPr/>
      <dgm:t>
        <a:bodyPr/>
        <a:lstStyle/>
        <a:p>
          <a:r>
            <a:rPr lang="en-US" sz="1800" b="1" dirty="0" smtClean="0"/>
            <a:t>Iteration Parallel</a:t>
          </a:r>
          <a:endParaRPr lang="en-US" sz="1800" b="1" dirty="0"/>
        </a:p>
      </dgm:t>
    </dgm:pt>
    <dgm:pt modelId="{6FFC74B7-71DB-48B4-8A54-EB4F6702BEBF}" type="parTrans" cxnId="{8950DBFE-664A-4D72-A023-03ADFD00B1FA}">
      <dgm:prSet/>
      <dgm:spPr/>
      <dgm:t>
        <a:bodyPr/>
        <a:lstStyle/>
        <a:p>
          <a:endParaRPr lang="en-US"/>
        </a:p>
      </dgm:t>
    </dgm:pt>
    <dgm:pt modelId="{09AB205E-BD65-41F5-8C0C-4969BC648B72}" type="sibTrans" cxnId="{8950DBFE-664A-4D72-A023-03ADFD00B1FA}">
      <dgm:prSet/>
      <dgm:spPr/>
      <dgm:t>
        <a:bodyPr/>
        <a:lstStyle/>
        <a:p>
          <a:endParaRPr lang="en-US"/>
        </a:p>
      </dgm:t>
    </dgm:pt>
    <dgm:pt modelId="{16A4E474-4B93-45D3-A876-3A1FB21D6221}">
      <dgm:prSet phldrT="[Text]" custT="1"/>
      <dgm:spPr/>
      <dgm:t>
        <a:bodyPr/>
        <a:lstStyle/>
        <a:p>
          <a:pPr algn="l"/>
          <a:r>
            <a:rPr lang="en-US" sz="1200" b="1" dirty="0" smtClean="0"/>
            <a:t>Execution </a:t>
          </a:r>
          <a:r>
            <a:rPr lang="en-US" sz="1200" b="1" dirty="0" smtClean="0"/>
            <a:t>Time : </a:t>
          </a:r>
          <a:r>
            <a:rPr lang="en-US" sz="1200" b="1" dirty="0" smtClean="0"/>
            <a:t>~2 days</a:t>
          </a:r>
          <a:endParaRPr lang="en-US" sz="1200" b="1" dirty="0"/>
        </a:p>
      </dgm:t>
    </dgm:pt>
    <dgm:pt modelId="{261D991F-FAC9-4496-A80F-63936E8CC76E}" type="parTrans" cxnId="{7F499BDD-7926-4C9C-B044-A62AD925504C}">
      <dgm:prSet/>
      <dgm:spPr/>
      <dgm:t>
        <a:bodyPr/>
        <a:lstStyle/>
        <a:p>
          <a:endParaRPr lang="en-US"/>
        </a:p>
      </dgm:t>
    </dgm:pt>
    <dgm:pt modelId="{748C2F33-2677-4FDA-9F98-C760E38436DE}" type="sibTrans" cxnId="{7F499BDD-7926-4C9C-B044-A62AD925504C}">
      <dgm:prSet/>
      <dgm:spPr/>
      <dgm:t>
        <a:bodyPr/>
        <a:lstStyle/>
        <a:p>
          <a:endParaRPr lang="en-US"/>
        </a:p>
      </dgm:t>
    </dgm:pt>
    <dgm:pt modelId="{A98E4F63-ED4B-4230-A90C-8A7D9F067787}">
      <dgm:prSet phldrT="[Text]" custT="1"/>
      <dgm:spPr/>
      <dgm:t>
        <a:bodyPr/>
        <a:lstStyle/>
        <a:p>
          <a:pPr algn="l"/>
          <a:r>
            <a:rPr lang="en-US" sz="1200" b="1" dirty="0" smtClean="0"/>
            <a:t>Number </a:t>
          </a:r>
          <a:r>
            <a:rPr lang="en-US" sz="1200" b="1" dirty="0" smtClean="0"/>
            <a:t>of Employees : </a:t>
          </a:r>
          <a:r>
            <a:rPr lang="en-US" sz="1200" b="1" dirty="0" smtClean="0"/>
            <a:t>1</a:t>
          </a:r>
          <a:endParaRPr lang="en-US" sz="1200" b="1" dirty="0"/>
        </a:p>
      </dgm:t>
    </dgm:pt>
    <dgm:pt modelId="{0BACD47C-B709-4DA7-B309-E625425BC563}" type="parTrans" cxnId="{BD0A438D-B862-4C52-B67D-59CA2F1C576A}">
      <dgm:prSet/>
      <dgm:spPr/>
      <dgm:t>
        <a:bodyPr/>
        <a:lstStyle/>
        <a:p>
          <a:endParaRPr lang="en-US"/>
        </a:p>
      </dgm:t>
    </dgm:pt>
    <dgm:pt modelId="{866FE5CC-898C-44D4-A5FF-41C21D398269}" type="sibTrans" cxnId="{BD0A438D-B862-4C52-B67D-59CA2F1C576A}">
      <dgm:prSet/>
      <dgm:spPr/>
      <dgm:t>
        <a:bodyPr/>
        <a:lstStyle/>
        <a:p>
          <a:endParaRPr lang="en-US"/>
        </a:p>
      </dgm:t>
    </dgm:pt>
    <dgm:pt modelId="{05AFE506-F23B-4BFE-A5DE-1F30B89C520C}" type="pres">
      <dgm:prSet presAssocID="{108752F0-4D24-465D-8A8E-C15C60F3C52E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7A37542F-C8A1-448C-AC54-A99314898139}" type="pres">
      <dgm:prSet presAssocID="{9ED38644-AB2A-4A35-B94B-FF450007151D}" presName="root" presStyleCnt="0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60201012-24E0-46D2-AC1F-9D3AA75EA07A}" type="pres">
      <dgm:prSet presAssocID="{9ED38644-AB2A-4A35-B94B-FF450007151D}" presName="rootComposite" presStyleCnt="0">
        <dgm:presLayoutVars/>
      </dgm:prSet>
      <dgm:spPr/>
      <dgm:t>
        <a:bodyPr/>
        <a:lstStyle/>
        <a:p>
          <a:endParaRPr lang="en-US"/>
        </a:p>
      </dgm:t>
    </dgm:pt>
    <dgm:pt modelId="{BD8F9379-71EE-42EB-957B-8EA2FB696605}" type="pres">
      <dgm:prSet presAssocID="{9ED38644-AB2A-4A35-B94B-FF450007151D}" presName="rootText" presStyleLbl="node0" presStyleIdx="0" presStyleCnt="1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2320BBAF-E413-47F7-94BC-21950EE82C9D}" type="pres">
      <dgm:prSet presAssocID="{9ED38644-AB2A-4A35-B94B-FF450007151D}" presName="childShap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9A9040F9-1744-471C-B7C4-611B67B0869A}" type="pres">
      <dgm:prSet presAssocID="{16A4E474-4B93-45D3-A876-3A1FB21D6221}" presName="childComposit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320FEDFA-5575-4576-9F3C-7F0B382A3764}" type="pres">
      <dgm:prSet presAssocID="{16A4E474-4B93-45D3-A876-3A1FB21D6221}" presName="Image" presStyleLbl="node1" presStyleIdx="0" presStyleCnt="2"/>
      <dgm:spPr/>
      <dgm:t>
        <a:bodyPr/>
        <a:lstStyle/>
        <a:p>
          <a:endParaRPr lang="en-US"/>
        </a:p>
      </dgm:t>
    </dgm:pt>
    <dgm:pt modelId="{0F104C73-5376-412F-81CA-4558188DD901}" type="pres">
      <dgm:prSet presAssocID="{16A4E474-4B93-45D3-A876-3A1FB21D6221}" presName="childText" presStyleLbl="l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DA6B9A-9B48-4140-9589-B15514B81ACD}" type="pres">
      <dgm:prSet presAssocID="{A98E4F63-ED4B-4230-A90C-8A7D9F067787}" presName="childComposite" presStyleCnt="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38711EB-9DC8-4ABA-84EC-2618354B553F}" type="pres">
      <dgm:prSet presAssocID="{A98E4F63-ED4B-4230-A90C-8A7D9F067787}" presName="Image" presStyleLbl="node1" presStyleIdx="1" presStyleCnt="2"/>
      <dgm:spPr/>
      <dgm:t>
        <a:bodyPr/>
        <a:lstStyle/>
        <a:p>
          <a:endParaRPr lang="en-US"/>
        </a:p>
      </dgm:t>
    </dgm:pt>
    <dgm:pt modelId="{F5A838E5-8280-43B6-BDBB-507002475E16}" type="pres">
      <dgm:prSet presAssocID="{A98E4F63-ED4B-4230-A90C-8A7D9F067787}" presName="childText" presStyleLbl="l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AA63EA0-7656-4659-808D-203E10E95BF8}" type="presOf" srcId="{108752F0-4D24-465D-8A8E-C15C60F3C52E}" destId="{05AFE506-F23B-4BFE-A5DE-1F30B89C520C}" srcOrd="0" destOrd="0" presId="urn:microsoft.com/office/officeart/2008/layout/PictureAccentList"/>
    <dgm:cxn modelId="{BD0A438D-B862-4C52-B67D-59CA2F1C576A}" srcId="{9ED38644-AB2A-4A35-B94B-FF450007151D}" destId="{A98E4F63-ED4B-4230-A90C-8A7D9F067787}" srcOrd="1" destOrd="0" parTransId="{0BACD47C-B709-4DA7-B309-E625425BC563}" sibTransId="{866FE5CC-898C-44D4-A5FF-41C21D398269}"/>
    <dgm:cxn modelId="{7F499BDD-7926-4C9C-B044-A62AD925504C}" srcId="{9ED38644-AB2A-4A35-B94B-FF450007151D}" destId="{16A4E474-4B93-45D3-A876-3A1FB21D6221}" srcOrd="0" destOrd="0" parTransId="{261D991F-FAC9-4496-A80F-63936E8CC76E}" sibTransId="{748C2F33-2677-4FDA-9F98-C760E38436DE}"/>
    <dgm:cxn modelId="{8950DBFE-664A-4D72-A023-03ADFD00B1FA}" srcId="{108752F0-4D24-465D-8A8E-C15C60F3C52E}" destId="{9ED38644-AB2A-4A35-B94B-FF450007151D}" srcOrd="0" destOrd="0" parTransId="{6FFC74B7-71DB-48B4-8A54-EB4F6702BEBF}" sibTransId="{09AB205E-BD65-41F5-8C0C-4969BC648B72}"/>
    <dgm:cxn modelId="{B4767F4A-1185-4505-A337-5FC62DCCA871}" type="presOf" srcId="{16A4E474-4B93-45D3-A876-3A1FB21D6221}" destId="{0F104C73-5376-412F-81CA-4558188DD901}" srcOrd="0" destOrd="0" presId="urn:microsoft.com/office/officeart/2008/layout/PictureAccentList"/>
    <dgm:cxn modelId="{01F39471-DBD3-4B93-B98F-E3BE4956484C}" type="presOf" srcId="{A98E4F63-ED4B-4230-A90C-8A7D9F067787}" destId="{F5A838E5-8280-43B6-BDBB-507002475E16}" srcOrd="0" destOrd="0" presId="urn:microsoft.com/office/officeart/2008/layout/PictureAccentList"/>
    <dgm:cxn modelId="{D4329DF4-B624-43AF-9192-FAFF85F0EF8E}" type="presOf" srcId="{9ED38644-AB2A-4A35-B94B-FF450007151D}" destId="{BD8F9379-71EE-42EB-957B-8EA2FB696605}" srcOrd="0" destOrd="0" presId="urn:microsoft.com/office/officeart/2008/layout/PictureAccentList"/>
    <dgm:cxn modelId="{F05BC397-1A24-4D65-A68D-CB6262A6BEDF}" type="presParOf" srcId="{05AFE506-F23B-4BFE-A5DE-1F30B89C520C}" destId="{7A37542F-C8A1-448C-AC54-A99314898139}" srcOrd="0" destOrd="0" presId="urn:microsoft.com/office/officeart/2008/layout/PictureAccentList"/>
    <dgm:cxn modelId="{F5285865-090A-4994-A2D9-24C8595A517B}" type="presParOf" srcId="{7A37542F-C8A1-448C-AC54-A99314898139}" destId="{60201012-24E0-46D2-AC1F-9D3AA75EA07A}" srcOrd="0" destOrd="0" presId="urn:microsoft.com/office/officeart/2008/layout/PictureAccentList"/>
    <dgm:cxn modelId="{78A0517B-F5FF-4C93-AC3C-0585CB6F861D}" type="presParOf" srcId="{60201012-24E0-46D2-AC1F-9D3AA75EA07A}" destId="{BD8F9379-71EE-42EB-957B-8EA2FB696605}" srcOrd="0" destOrd="0" presId="urn:microsoft.com/office/officeart/2008/layout/PictureAccentList"/>
    <dgm:cxn modelId="{7E5977CD-8282-4D39-AB52-EE8293241659}" type="presParOf" srcId="{7A37542F-C8A1-448C-AC54-A99314898139}" destId="{2320BBAF-E413-47F7-94BC-21950EE82C9D}" srcOrd="1" destOrd="0" presId="urn:microsoft.com/office/officeart/2008/layout/PictureAccentList"/>
    <dgm:cxn modelId="{526E44DB-1A31-44BB-85F6-BE4C98F55965}" type="presParOf" srcId="{2320BBAF-E413-47F7-94BC-21950EE82C9D}" destId="{9A9040F9-1744-471C-B7C4-611B67B0869A}" srcOrd="0" destOrd="0" presId="urn:microsoft.com/office/officeart/2008/layout/PictureAccentList"/>
    <dgm:cxn modelId="{4B8C76D8-D71A-4FE4-BC69-D43C906FC33E}" type="presParOf" srcId="{9A9040F9-1744-471C-B7C4-611B67B0869A}" destId="{320FEDFA-5575-4576-9F3C-7F0B382A3764}" srcOrd="0" destOrd="0" presId="urn:microsoft.com/office/officeart/2008/layout/PictureAccentList"/>
    <dgm:cxn modelId="{D80BDCBD-B384-40A1-A836-AB31A9167205}" type="presParOf" srcId="{9A9040F9-1744-471C-B7C4-611B67B0869A}" destId="{0F104C73-5376-412F-81CA-4558188DD901}" srcOrd="1" destOrd="0" presId="urn:microsoft.com/office/officeart/2008/layout/PictureAccentList"/>
    <dgm:cxn modelId="{D9F1A7AD-C7F8-494C-A8F6-E17B65A3AE83}" type="presParOf" srcId="{2320BBAF-E413-47F7-94BC-21950EE82C9D}" destId="{44DA6B9A-9B48-4140-9589-B15514B81ACD}" srcOrd="1" destOrd="0" presId="urn:microsoft.com/office/officeart/2008/layout/PictureAccentList"/>
    <dgm:cxn modelId="{2B2D8183-7735-4A27-9DFB-70CE72797A45}" type="presParOf" srcId="{44DA6B9A-9B48-4140-9589-B15514B81ACD}" destId="{838711EB-9DC8-4ABA-84EC-2618354B553F}" srcOrd="0" destOrd="0" presId="urn:microsoft.com/office/officeart/2008/layout/PictureAccentList"/>
    <dgm:cxn modelId="{E9CEFC1C-FEB7-432C-846B-B2247C4391F4}" type="presParOf" srcId="{44DA6B9A-9B48-4140-9589-B15514B81ACD}" destId="{F5A838E5-8280-43B6-BDBB-507002475E16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EA11CC0-F27C-4EBC-9D7D-E635092D0406}" type="doc">
      <dgm:prSet loTypeId="urn:microsoft.com/office/officeart/2005/8/layout/hList2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CC15012-D88B-487D-8263-7015C76203DD}">
      <dgm:prSet phldrT="[Text]" custT="1"/>
      <dgm:spPr/>
      <dgm:t>
        <a:bodyPr/>
        <a:lstStyle/>
        <a:p>
          <a:pPr algn="l"/>
          <a:r>
            <a:rPr lang="en-US" sz="1600" b="1" dirty="0" smtClean="0"/>
            <a:t>Sequential Execution</a:t>
          </a:r>
          <a:endParaRPr lang="en-US" sz="1600" b="1" dirty="0"/>
        </a:p>
      </dgm:t>
    </dgm:pt>
    <dgm:pt modelId="{64D1680E-D7DE-4933-8DDD-DE8E57573861}" type="parTrans" cxnId="{DB11ED3F-8570-41F7-92DD-EEC474B3C618}">
      <dgm:prSet/>
      <dgm:spPr/>
      <dgm:t>
        <a:bodyPr/>
        <a:lstStyle/>
        <a:p>
          <a:endParaRPr lang="en-US"/>
        </a:p>
      </dgm:t>
    </dgm:pt>
    <dgm:pt modelId="{E2951D68-64E9-43C4-9C06-02BCA8FA02EE}" type="sibTrans" cxnId="{DB11ED3F-8570-41F7-92DD-EEC474B3C618}">
      <dgm:prSet/>
      <dgm:spPr/>
      <dgm:t>
        <a:bodyPr/>
        <a:lstStyle/>
        <a:p>
          <a:endParaRPr lang="en-US"/>
        </a:p>
      </dgm:t>
    </dgm:pt>
    <dgm:pt modelId="{B24299A3-EFB7-4250-B369-E78EBE5675E4}">
      <dgm:prSet phldrT="[Text]" custT="1"/>
      <dgm:spPr/>
      <dgm:t>
        <a:bodyPr/>
        <a:lstStyle/>
        <a:p>
          <a:pPr algn="l"/>
          <a:r>
            <a:rPr lang="en-US" sz="1600" b="1" dirty="0" smtClean="0"/>
            <a:t>Sequential Execution</a:t>
          </a:r>
          <a:endParaRPr lang="en-US" sz="1600" b="1" dirty="0"/>
        </a:p>
      </dgm:t>
    </dgm:pt>
    <dgm:pt modelId="{7B7C0F99-C427-43D9-A074-D43B476D6EB6}" type="parTrans" cxnId="{F34E4B4C-942B-402B-8CBC-49B368F56204}">
      <dgm:prSet/>
      <dgm:spPr/>
      <dgm:t>
        <a:bodyPr/>
        <a:lstStyle/>
        <a:p>
          <a:endParaRPr lang="en-US"/>
        </a:p>
      </dgm:t>
    </dgm:pt>
    <dgm:pt modelId="{38EEAB1F-C03A-44EB-A51B-4AFBE42B2ED1}" type="sibTrans" cxnId="{F34E4B4C-942B-402B-8CBC-49B368F56204}">
      <dgm:prSet/>
      <dgm:spPr/>
      <dgm:t>
        <a:bodyPr/>
        <a:lstStyle/>
        <a:p>
          <a:endParaRPr lang="en-US"/>
        </a:p>
      </dgm:t>
    </dgm:pt>
    <dgm:pt modelId="{DC4C8AA0-3F88-4807-8B40-A9F09E371749}">
      <dgm:prSet phldrT="[Text]" custT="1"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</a:pPr>
          <a:endParaRPr lang="en-US" sz="1600" dirty="0"/>
        </a:p>
      </dgm:t>
    </dgm:pt>
    <dgm:pt modelId="{0B1252B1-D006-4638-80DB-E74B519DDC90}" type="parTrans" cxnId="{BC17337B-350C-453D-8FFA-AA65632A394A}">
      <dgm:prSet/>
      <dgm:spPr/>
      <dgm:t>
        <a:bodyPr/>
        <a:lstStyle/>
        <a:p>
          <a:endParaRPr lang="en-US"/>
        </a:p>
      </dgm:t>
    </dgm:pt>
    <dgm:pt modelId="{D39D8EFF-456C-4201-870F-1692E220EA30}" type="sibTrans" cxnId="{BC17337B-350C-453D-8FFA-AA65632A394A}">
      <dgm:prSet/>
      <dgm:spPr/>
      <dgm:t>
        <a:bodyPr/>
        <a:lstStyle/>
        <a:p>
          <a:endParaRPr lang="en-US"/>
        </a:p>
      </dgm:t>
    </dgm:pt>
    <dgm:pt modelId="{3F77FEC0-1DFF-4180-9E62-A49E9EEF271D}">
      <dgm:prSet phldrT="[Text]" custT="1"/>
      <dgm:spPr/>
      <dgm:t>
        <a:bodyPr/>
        <a:lstStyle/>
        <a:p>
          <a:pPr algn="l"/>
          <a:r>
            <a:rPr lang="en-US" sz="1600" b="1" dirty="0" smtClean="0"/>
            <a:t>Sequential Execution</a:t>
          </a:r>
          <a:endParaRPr lang="en-US" sz="1600" b="1" dirty="0"/>
        </a:p>
      </dgm:t>
    </dgm:pt>
    <dgm:pt modelId="{2AD5DDCB-3D86-450D-BB68-0583A1A4247D}" type="parTrans" cxnId="{D6863C98-0A91-440E-B964-976BC41C3AAF}">
      <dgm:prSet/>
      <dgm:spPr/>
      <dgm:t>
        <a:bodyPr/>
        <a:lstStyle/>
        <a:p>
          <a:endParaRPr lang="en-US"/>
        </a:p>
      </dgm:t>
    </dgm:pt>
    <dgm:pt modelId="{9B36D780-D0FE-4FB5-B82D-814BC4E94832}" type="sibTrans" cxnId="{D6863C98-0A91-440E-B964-976BC41C3AAF}">
      <dgm:prSet/>
      <dgm:spPr/>
      <dgm:t>
        <a:bodyPr/>
        <a:lstStyle/>
        <a:p>
          <a:endParaRPr lang="en-US"/>
        </a:p>
      </dgm:t>
    </dgm:pt>
    <dgm:pt modelId="{C3030A83-9863-41E1-AE74-8E61E18A3318}">
      <dgm:prSet phldrT="[Text]" custT="1"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</a:pPr>
          <a:endParaRPr lang="en-US" sz="1600" dirty="0"/>
        </a:p>
      </dgm:t>
    </dgm:pt>
    <dgm:pt modelId="{3631D557-5C17-4CA2-85B7-B318BB7B1A55}" type="parTrans" cxnId="{D9C65A4A-29AC-4286-821A-51DF689B243B}">
      <dgm:prSet/>
      <dgm:spPr/>
      <dgm:t>
        <a:bodyPr/>
        <a:lstStyle/>
        <a:p>
          <a:endParaRPr lang="en-US"/>
        </a:p>
      </dgm:t>
    </dgm:pt>
    <dgm:pt modelId="{843F487F-5B11-459F-8096-4A6C4DEA5EA8}" type="sibTrans" cxnId="{D9C65A4A-29AC-4286-821A-51DF689B243B}">
      <dgm:prSet/>
      <dgm:spPr/>
      <dgm:t>
        <a:bodyPr/>
        <a:lstStyle/>
        <a:p>
          <a:endParaRPr lang="en-US"/>
        </a:p>
      </dgm:t>
    </dgm:pt>
    <dgm:pt modelId="{A1377254-1C65-45BB-9E97-F1229F21374A}" type="pres">
      <dgm:prSet presAssocID="{2EA11CC0-F27C-4EBC-9D7D-E635092D0406}" presName="linearFlow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BBA63BCC-DA54-4C0A-B5EB-222E21FE90DC}" type="pres">
      <dgm:prSet presAssocID="{8CC15012-D88B-487D-8263-7015C76203DD}" presName="compositeNode" presStyleCnt="0">
        <dgm:presLayoutVars>
          <dgm:bulletEnabled val="1"/>
        </dgm:presLayoutVars>
      </dgm:prSet>
      <dgm:spPr/>
    </dgm:pt>
    <dgm:pt modelId="{DCDDCA21-46E5-479E-BA6C-6BD57D27042C}" type="pres">
      <dgm:prSet presAssocID="{8CC15012-D88B-487D-8263-7015C76203DD}" presName="image" presStyleLbl="fgImgPlace1" presStyleIdx="0" presStyleCnt="3"/>
      <dgm:spPr/>
    </dgm:pt>
    <dgm:pt modelId="{A1E0CA5B-EB15-4706-8B88-6C1320DF8A16}" type="pres">
      <dgm:prSet presAssocID="{8CC15012-D88B-487D-8263-7015C76203DD}" presName="child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F49616-8AE2-4582-ADC5-2E0DF2210543}" type="pres">
      <dgm:prSet presAssocID="{8CC15012-D88B-487D-8263-7015C76203DD}" presName="parentNode" presStyleLbl="revTx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B6953-9B89-4597-B77A-FAD3E0BE0517}" type="pres">
      <dgm:prSet presAssocID="{E2951D68-64E9-43C4-9C06-02BCA8FA02EE}" presName="sibTrans" presStyleCnt="0"/>
      <dgm:spPr/>
    </dgm:pt>
    <dgm:pt modelId="{1F44B0EE-87E1-4725-93E7-0DCD4A0F1CFC}" type="pres">
      <dgm:prSet presAssocID="{B24299A3-EFB7-4250-B369-E78EBE5675E4}" presName="compositeNode" presStyleCnt="0">
        <dgm:presLayoutVars>
          <dgm:bulletEnabled val="1"/>
        </dgm:presLayoutVars>
      </dgm:prSet>
      <dgm:spPr/>
    </dgm:pt>
    <dgm:pt modelId="{A195BAC8-0E36-4C90-B3E5-A6F77209376C}" type="pres">
      <dgm:prSet presAssocID="{B24299A3-EFB7-4250-B369-E78EBE5675E4}" presName="image" presStyleLbl="fgImgPlace1" presStyleIdx="1" presStyleCnt="3"/>
      <dgm:spPr/>
    </dgm:pt>
    <dgm:pt modelId="{4D3FFD46-7C39-4122-9928-452034EDFBAD}" type="pres">
      <dgm:prSet presAssocID="{B24299A3-EFB7-4250-B369-E78EBE5675E4}" presName="child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1BF8A3-35E2-43DA-94F4-4DF0AA218CDE}" type="pres">
      <dgm:prSet presAssocID="{B24299A3-EFB7-4250-B369-E78EBE5675E4}" presName="parentNode" presStyleLbl="revTx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E79652-B913-4365-9E20-9A49F70ED1BF}" type="pres">
      <dgm:prSet presAssocID="{38EEAB1F-C03A-44EB-A51B-4AFBE42B2ED1}" presName="sibTrans" presStyleCnt="0"/>
      <dgm:spPr/>
    </dgm:pt>
    <dgm:pt modelId="{7CE52CC4-E070-43B9-AD39-0BAE0F92B910}" type="pres">
      <dgm:prSet presAssocID="{3F77FEC0-1DFF-4180-9E62-A49E9EEF271D}" presName="compositeNode" presStyleCnt="0">
        <dgm:presLayoutVars>
          <dgm:bulletEnabled val="1"/>
        </dgm:presLayoutVars>
      </dgm:prSet>
      <dgm:spPr/>
    </dgm:pt>
    <dgm:pt modelId="{37E0A131-5810-4CCA-BDFA-603B5AF908F0}" type="pres">
      <dgm:prSet presAssocID="{3F77FEC0-1DFF-4180-9E62-A49E9EEF271D}" presName="image" presStyleLbl="fgImgPlace1" presStyleIdx="2" presStyleCnt="3"/>
      <dgm:spPr/>
    </dgm:pt>
    <dgm:pt modelId="{3486DD22-4045-4902-AAB4-FC9FFB3F9B7C}" type="pres">
      <dgm:prSet presAssocID="{3F77FEC0-1DFF-4180-9E62-A49E9EEF271D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8D6DEF-9F4B-4FE9-A3A4-617B58B91940}" type="pres">
      <dgm:prSet presAssocID="{3F77FEC0-1DFF-4180-9E62-A49E9EEF271D}" presName="parentNode" presStyleLbl="revTx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C0024D3-C4A3-447E-8953-553513A5E797}" type="presOf" srcId="{B24299A3-EFB7-4250-B369-E78EBE5675E4}" destId="{251BF8A3-35E2-43DA-94F4-4DF0AA218CDE}" srcOrd="0" destOrd="0" presId="urn:microsoft.com/office/officeart/2005/8/layout/hList2"/>
    <dgm:cxn modelId="{DB11ED3F-8570-41F7-92DD-EEC474B3C618}" srcId="{2EA11CC0-F27C-4EBC-9D7D-E635092D0406}" destId="{8CC15012-D88B-487D-8263-7015C76203DD}" srcOrd="0" destOrd="0" parTransId="{64D1680E-D7DE-4933-8DDD-DE8E57573861}" sibTransId="{E2951D68-64E9-43C4-9C06-02BCA8FA02EE}"/>
    <dgm:cxn modelId="{F34E4B4C-942B-402B-8CBC-49B368F56204}" srcId="{2EA11CC0-F27C-4EBC-9D7D-E635092D0406}" destId="{B24299A3-EFB7-4250-B369-E78EBE5675E4}" srcOrd="1" destOrd="0" parTransId="{7B7C0F99-C427-43D9-A074-D43B476D6EB6}" sibTransId="{38EEAB1F-C03A-44EB-A51B-4AFBE42B2ED1}"/>
    <dgm:cxn modelId="{D6863C98-0A91-440E-B964-976BC41C3AAF}" srcId="{2EA11CC0-F27C-4EBC-9D7D-E635092D0406}" destId="{3F77FEC0-1DFF-4180-9E62-A49E9EEF271D}" srcOrd="2" destOrd="0" parTransId="{2AD5DDCB-3D86-450D-BB68-0583A1A4247D}" sibTransId="{9B36D780-D0FE-4FB5-B82D-814BC4E94832}"/>
    <dgm:cxn modelId="{993693A1-ABEA-4B2A-9A42-F7ED6EF43280}" type="presOf" srcId="{2EA11CC0-F27C-4EBC-9D7D-E635092D0406}" destId="{A1377254-1C65-45BB-9E97-F1229F21374A}" srcOrd="0" destOrd="0" presId="urn:microsoft.com/office/officeart/2005/8/layout/hList2"/>
    <dgm:cxn modelId="{D9C65A4A-29AC-4286-821A-51DF689B243B}" srcId="{3F77FEC0-1DFF-4180-9E62-A49E9EEF271D}" destId="{C3030A83-9863-41E1-AE74-8E61E18A3318}" srcOrd="0" destOrd="0" parTransId="{3631D557-5C17-4CA2-85B7-B318BB7B1A55}" sibTransId="{843F487F-5B11-459F-8096-4A6C4DEA5EA8}"/>
    <dgm:cxn modelId="{B65EB384-CE0F-4A82-8883-7805D4D4AD8B}" type="presOf" srcId="{8CC15012-D88B-487D-8263-7015C76203DD}" destId="{3CF49616-8AE2-4582-ADC5-2E0DF2210543}" srcOrd="0" destOrd="0" presId="urn:microsoft.com/office/officeart/2005/8/layout/hList2"/>
    <dgm:cxn modelId="{BC17337B-350C-453D-8FFA-AA65632A394A}" srcId="{B24299A3-EFB7-4250-B369-E78EBE5675E4}" destId="{DC4C8AA0-3F88-4807-8B40-A9F09E371749}" srcOrd="0" destOrd="0" parTransId="{0B1252B1-D006-4638-80DB-E74B519DDC90}" sibTransId="{D39D8EFF-456C-4201-870F-1692E220EA30}"/>
    <dgm:cxn modelId="{0021CC5C-BAF0-4999-B78E-F15B8C4048A1}" type="presOf" srcId="{DC4C8AA0-3F88-4807-8B40-A9F09E371749}" destId="{4D3FFD46-7C39-4122-9928-452034EDFBAD}" srcOrd="0" destOrd="0" presId="urn:microsoft.com/office/officeart/2005/8/layout/hList2"/>
    <dgm:cxn modelId="{257F7BED-1A2A-4622-B06B-BF0E15368726}" type="presOf" srcId="{C3030A83-9863-41E1-AE74-8E61E18A3318}" destId="{3486DD22-4045-4902-AAB4-FC9FFB3F9B7C}" srcOrd="0" destOrd="0" presId="urn:microsoft.com/office/officeart/2005/8/layout/hList2"/>
    <dgm:cxn modelId="{085A98DA-28E0-47D7-9B31-7024E41CEC7B}" type="presOf" srcId="{3F77FEC0-1DFF-4180-9E62-A49E9EEF271D}" destId="{588D6DEF-9F4B-4FE9-A3A4-617B58B91940}" srcOrd="0" destOrd="0" presId="urn:microsoft.com/office/officeart/2005/8/layout/hList2"/>
    <dgm:cxn modelId="{B14E6947-459F-4169-9000-12F4B035C8E1}" type="presParOf" srcId="{A1377254-1C65-45BB-9E97-F1229F21374A}" destId="{BBA63BCC-DA54-4C0A-B5EB-222E21FE90DC}" srcOrd="0" destOrd="0" presId="urn:microsoft.com/office/officeart/2005/8/layout/hList2"/>
    <dgm:cxn modelId="{0094B478-53C6-4647-8581-77CBF44024E1}" type="presParOf" srcId="{BBA63BCC-DA54-4C0A-B5EB-222E21FE90DC}" destId="{DCDDCA21-46E5-479E-BA6C-6BD57D27042C}" srcOrd="0" destOrd="0" presId="urn:microsoft.com/office/officeart/2005/8/layout/hList2"/>
    <dgm:cxn modelId="{D3542B0F-1524-47BE-BDD9-664F1FC74BFB}" type="presParOf" srcId="{BBA63BCC-DA54-4C0A-B5EB-222E21FE90DC}" destId="{A1E0CA5B-EB15-4706-8B88-6C1320DF8A16}" srcOrd="1" destOrd="0" presId="urn:microsoft.com/office/officeart/2005/8/layout/hList2"/>
    <dgm:cxn modelId="{8D55E38C-7E01-48FF-ACC7-7696A5E4DC55}" type="presParOf" srcId="{BBA63BCC-DA54-4C0A-B5EB-222E21FE90DC}" destId="{3CF49616-8AE2-4582-ADC5-2E0DF2210543}" srcOrd="2" destOrd="0" presId="urn:microsoft.com/office/officeart/2005/8/layout/hList2"/>
    <dgm:cxn modelId="{BABB3122-6B5A-4184-9308-D88F9CBCEC8A}" type="presParOf" srcId="{A1377254-1C65-45BB-9E97-F1229F21374A}" destId="{9ADB6953-9B89-4597-B77A-FAD3E0BE0517}" srcOrd="1" destOrd="0" presId="urn:microsoft.com/office/officeart/2005/8/layout/hList2"/>
    <dgm:cxn modelId="{77CB0046-07FE-4CE9-A8CC-182A58025F2C}" type="presParOf" srcId="{A1377254-1C65-45BB-9E97-F1229F21374A}" destId="{1F44B0EE-87E1-4725-93E7-0DCD4A0F1CFC}" srcOrd="2" destOrd="0" presId="urn:microsoft.com/office/officeart/2005/8/layout/hList2"/>
    <dgm:cxn modelId="{5FE23363-7688-4D75-BF7B-DCA93796448D}" type="presParOf" srcId="{1F44B0EE-87E1-4725-93E7-0DCD4A0F1CFC}" destId="{A195BAC8-0E36-4C90-B3E5-A6F77209376C}" srcOrd="0" destOrd="0" presId="urn:microsoft.com/office/officeart/2005/8/layout/hList2"/>
    <dgm:cxn modelId="{5BAF4AE4-F5E6-43C7-8839-FA7117BC6C28}" type="presParOf" srcId="{1F44B0EE-87E1-4725-93E7-0DCD4A0F1CFC}" destId="{4D3FFD46-7C39-4122-9928-452034EDFBAD}" srcOrd="1" destOrd="0" presId="urn:microsoft.com/office/officeart/2005/8/layout/hList2"/>
    <dgm:cxn modelId="{B7BC996C-0F3C-4008-97F0-CEBF787DB2AF}" type="presParOf" srcId="{1F44B0EE-87E1-4725-93E7-0DCD4A0F1CFC}" destId="{251BF8A3-35E2-43DA-94F4-4DF0AA218CDE}" srcOrd="2" destOrd="0" presId="urn:microsoft.com/office/officeart/2005/8/layout/hList2"/>
    <dgm:cxn modelId="{C40C31FD-C330-4043-85C7-D577E6FB83C8}" type="presParOf" srcId="{A1377254-1C65-45BB-9E97-F1229F21374A}" destId="{18E79652-B913-4365-9E20-9A49F70ED1BF}" srcOrd="3" destOrd="0" presId="urn:microsoft.com/office/officeart/2005/8/layout/hList2"/>
    <dgm:cxn modelId="{243494C3-C2F2-4955-A38B-1A1F67F85D52}" type="presParOf" srcId="{A1377254-1C65-45BB-9E97-F1229F21374A}" destId="{7CE52CC4-E070-43B9-AD39-0BAE0F92B910}" srcOrd="4" destOrd="0" presId="urn:microsoft.com/office/officeart/2005/8/layout/hList2"/>
    <dgm:cxn modelId="{FB3F6B71-42F5-4433-AF0E-93FEEC7A20AE}" type="presParOf" srcId="{7CE52CC4-E070-43B9-AD39-0BAE0F92B910}" destId="{37E0A131-5810-4CCA-BDFA-603B5AF908F0}" srcOrd="0" destOrd="0" presId="urn:microsoft.com/office/officeart/2005/8/layout/hList2"/>
    <dgm:cxn modelId="{DCFE5C68-7E0E-4F79-938F-12A9AF4FCBA0}" type="presParOf" srcId="{7CE52CC4-E070-43B9-AD39-0BAE0F92B910}" destId="{3486DD22-4045-4902-AAB4-FC9FFB3F9B7C}" srcOrd="1" destOrd="0" presId="urn:microsoft.com/office/officeart/2005/8/layout/hList2"/>
    <dgm:cxn modelId="{C1896A7D-4CB2-437B-BD81-05A81D0F0D20}" type="presParOf" srcId="{7CE52CC4-E070-43B9-AD39-0BAE0F92B910}" destId="{588D6DEF-9F4B-4FE9-A3A4-617B58B91940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BE1F923-6847-47D3-800A-65FE91E636A8}" type="doc">
      <dgm:prSet loTypeId="urn:microsoft.com/office/officeart/2009/layout/CircleArrowProcess" loCatId="cycl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BB2532D-44AB-484B-8A99-CD7678CC4BBD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1</a:t>
          </a:r>
          <a:endParaRPr lang="en-US" sz="900" b="1" dirty="0">
            <a:solidFill>
              <a:schemeClr val="accent3"/>
            </a:solidFill>
          </a:endParaRPr>
        </a:p>
      </dgm:t>
    </dgm:pt>
    <dgm:pt modelId="{B979A3F3-D16C-4C1E-BA82-998267278E13}" type="parTrans" cxnId="{0841BE70-F82D-48A2-A0F5-DBF57FDADF3E}">
      <dgm:prSet/>
      <dgm:spPr/>
      <dgm:t>
        <a:bodyPr/>
        <a:lstStyle/>
        <a:p>
          <a:endParaRPr lang="en-US"/>
        </a:p>
      </dgm:t>
    </dgm:pt>
    <dgm:pt modelId="{37B4EA3F-158D-4AE3-9FB6-44BCEBD3C0EF}" type="sibTrans" cxnId="{0841BE70-F82D-48A2-A0F5-DBF57FDADF3E}">
      <dgm:prSet/>
      <dgm:spPr/>
      <dgm:t>
        <a:bodyPr/>
        <a:lstStyle/>
        <a:p>
          <a:endParaRPr lang="en-US"/>
        </a:p>
      </dgm:t>
    </dgm:pt>
    <dgm:pt modelId="{D8140FC3-F949-4698-9F61-C42A4080B6C4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2</a:t>
          </a:r>
          <a:endParaRPr lang="en-US" sz="900" dirty="0">
            <a:solidFill>
              <a:schemeClr val="accent3"/>
            </a:solidFill>
          </a:endParaRPr>
        </a:p>
      </dgm:t>
    </dgm:pt>
    <dgm:pt modelId="{0C8FC618-14BA-4C3E-A3AC-08B8DC7C9CDD}" type="sibTrans" cxnId="{194B35D6-5D78-4966-B4EB-5159ADB5A874}">
      <dgm:prSet/>
      <dgm:spPr/>
      <dgm:t>
        <a:bodyPr/>
        <a:lstStyle/>
        <a:p>
          <a:endParaRPr lang="en-US"/>
        </a:p>
      </dgm:t>
    </dgm:pt>
    <dgm:pt modelId="{CCF15E43-733D-4389-9E43-75877E99E905}" type="parTrans" cxnId="{194B35D6-5D78-4966-B4EB-5159ADB5A874}">
      <dgm:prSet/>
      <dgm:spPr/>
      <dgm:t>
        <a:bodyPr/>
        <a:lstStyle/>
        <a:p>
          <a:endParaRPr lang="en-US"/>
        </a:p>
      </dgm:t>
    </dgm:pt>
    <dgm:pt modelId="{1DB65159-59A8-4188-B6C9-C87411392150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3</a:t>
          </a:r>
          <a:endParaRPr lang="en-US" sz="900" dirty="0">
            <a:solidFill>
              <a:schemeClr val="accent3"/>
            </a:solidFill>
          </a:endParaRPr>
        </a:p>
      </dgm:t>
    </dgm:pt>
    <dgm:pt modelId="{A95604AA-E08B-443F-ABFB-6E701914496D}" type="sibTrans" cxnId="{1ABAA67B-4E82-471D-A32F-5C6FB503A956}">
      <dgm:prSet/>
      <dgm:spPr/>
      <dgm:t>
        <a:bodyPr/>
        <a:lstStyle/>
        <a:p>
          <a:endParaRPr lang="en-US"/>
        </a:p>
      </dgm:t>
    </dgm:pt>
    <dgm:pt modelId="{26E24834-CEF0-4703-AB69-E9223D7EDB89}" type="parTrans" cxnId="{1ABAA67B-4E82-471D-A32F-5C6FB503A956}">
      <dgm:prSet/>
      <dgm:spPr/>
      <dgm:t>
        <a:bodyPr/>
        <a:lstStyle/>
        <a:p>
          <a:endParaRPr lang="en-US"/>
        </a:p>
      </dgm:t>
    </dgm:pt>
    <dgm:pt modelId="{6E50E118-0C48-4EBB-96D8-2FD355E9E093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4</a:t>
          </a:r>
          <a:endParaRPr lang="en-US" sz="900" b="1" dirty="0">
            <a:solidFill>
              <a:schemeClr val="accent3"/>
            </a:solidFill>
          </a:endParaRPr>
        </a:p>
      </dgm:t>
    </dgm:pt>
    <dgm:pt modelId="{4376268D-3F0B-498E-A795-E13651EACFA2}" type="sibTrans" cxnId="{39BFD1CC-BC1A-49B0-B3B3-1345DF4CE39D}">
      <dgm:prSet/>
      <dgm:spPr/>
      <dgm:t>
        <a:bodyPr/>
        <a:lstStyle/>
        <a:p>
          <a:endParaRPr lang="en-US"/>
        </a:p>
      </dgm:t>
    </dgm:pt>
    <dgm:pt modelId="{71AC55DC-2260-4866-9E2F-25E780CED3C2}" type="parTrans" cxnId="{39BFD1CC-BC1A-49B0-B3B3-1345DF4CE39D}">
      <dgm:prSet/>
      <dgm:spPr/>
      <dgm:t>
        <a:bodyPr/>
        <a:lstStyle/>
        <a:p>
          <a:endParaRPr lang="en-US"/>
        </a:p>
      </dgm:t>
    </dgm:pt>
    <dgm:pt modelId="{35E9B24E-3CB1-4305-8C5D-76BABEC58885}" type="pres">
      <dgm:prSet presAssocID="{6BE1F923-6847-47D3-800A-65FE91E636A8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D4B6BB5-2D01-4B4D-9AC4-FD704DB7A0A7}" type="pres">
      <dgm:prSet presAssocID="{8BB2532D-44AB-484B-8A99-CD7678CC4BBD}" presName="Accent1" presStyleCnt="0"/>
      <dgm:spPr/>
      <dgm:t>
        <a:bodyPr/>
        <a:lstStyle/>
        <a:p>
          <a:endParaRPr lang="en-US"/>
        </a:p>
      </dgm:t>
    </dgm:pt>
    <dgm:pt modelId="{22E016A4-0C11-419B-ABB6-A49957BADAB5}" type="pres">
      <dgm:prSet presAssocID="{8BB2532D-44AB-484B-8A99-CD7678CC4BBD}" presName="Accent" presStyleLbl="node1" presStyleIdx="0" presStyleCnt="4"/>
      <dgm:spPr/>
      <dgm:t>
        <a:bodyPr/>
        <a:lstStyle/>
        <a:p>
          <a:endParaRPr lang="en-US"/>
        </a:p>
      </dgm:t>
    </dgm:pt>
    <dgm:pt modelId="{3A0AA5DF-390C-492F-A543-43C9DCB8ED98}" type="pres">
      <dgm:prSet presAssocID="{8BB2532D-44AB-484B-8A99-CD7678CC4BBD}" presName="Parent1" presStyleLbl="revTx" presStyleIdx="0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61302E-3873-492E-98B2-07DEA92E16D3}" type="pres">
      <dgm:prSet presAssocID="{D8140FC3-F949-4698-9F61-C42A4080B6C4}" presName="Accent2" presStyleCnt="0"/>
      <dgm:spPr/>
      <dgm:t>
        <a:bodyPr/>
        <a:lstStyle/>
        <a:p>
          <a:endParaRPr lang="en-US"/>
        </a:p>
      </dgm:t>
    </dgm:pt>
    <dgm:pt modelId="{A9F6735B-12A3-45D0-A6BB-BB09A09E0DC3}" type="pres">
      <dgm:prSet presAssocID="{D8140FC3-F949-4698-9F61-C42A4080B6C4}" presName="Accent" presStyleLbl="node1" presStyleIdx="1" presStyleCnt="4"/>
      <dgm:spPr/>
      <dgm:t>
        <a:bodyPr/>
        <a:lstStyle/>
        <a:p>
          <a:endParaRPr lang="en-US"/>
        </a:p>
      </dgm:t>
    </dgm:pt>
    <dgm:pt modelId="{9D198289-0FC6-4E10-B473-10CE1FFDA6BC}" type="pres">
      <dgm:prSet presAssocID="{D8140FC3-F949-4698-9F61-C42A4080B6C4}" presName="Parent2" presStyleLbl="revTx" presStyleIdx="1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803F48-3094-4A0D-BE54-C476BCCAE25B}" type="pres">
      <dgm:prSet presAssocID="{1DB65159-59A8-4188-B6C9-C87411392150}" presName="Accent3" presStyleCnt="0"/>
      <dgm:spPr/>
      <dgm:t>
        <a:bodyPr/>
        <a:lstStyle/>
        <a:p>
          <a:endParaRPr lang="en-US"/>
        </a:p>
      </dgm:t>
    </dgm:pt>
    <dgm:pt modelId="{1A40FF5B-8F4B-44EC-937A-E3C2F0D8B802}" type="pres">
      <dgm:prSet presAssocID="{1DB65159-59A8-4188-B6C9-C87411392150}" presName="Accent" presStyleLbl="node1" presStyleIdx="2" presStyleCnt="4"/>
      <dgm:spPr/>
      <dgm:t>
        <a:bodyPr/>
        <a:lstStyle/>
        <a:p>
          <a:endParaRPr lang="en-US"/>
        </a:p>
      </dgm:t>
    </dgm:pt>
    <dgm:pt modelId="{5C32D880-EDA2-4591-A13D-220E15431D7A}" type="pres">
      <dgm:prSet presAssocID="{1DB65159-59A8-4188-B6C9-C87411392150}" presName="Parent3" presStyleLbl="revTx" presStyleIdx="2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E0F892-7EC4-49F8-8F9B-473DBA35BF69}" type="pres">
      <dgm:prSet presAssocID="{6E50E118-0C48-4EBB-96D8-2FD355E9E093}" presName="Accent4" presStyleCnt="0"/>
      <dgm:spPr/>
      <dgm:t>
        <a:bodyPr/>
        <a:lstStyle/>
        <a:p>
          <a:endParaRPr lang="en-US"/>
        </a:p>
      </dgm:t>
    </dgm:pt>
    <dgm:pt modelId="{044BC376-A853-4EF2-97A8-49CBA3EBD329}" type="pres">
      <dgm:prSet presAssocID="{6E50E118-0C48-4EBB-96D8-2FD355E9E093}" presName="Accent" presStyleLbl="node1" presStyleIdx="3" presStyleCnt="4"/>
      <dgm:spPr/>
      <dgm:t>
        <a:bodyPr/>
        <a:lstStyle/>
        <a:p>
          <a:endParaRPr lang="en-US"/>
        </a:p>
      </dgm:t>
    </dgm:pt>
    <dgm:pt modelId="{7BB00A70-A212-4FB6-9D1B-5D2C4D1847FC}" type="pres">
      <dgm:prSet presAssocID="{6E50E118-0C48-4EBB-96D8-2FD355E9E093}" presName="Parent4" presStyleLbl="revTx" presStyleIdx="3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D9B11F5-58A2-4BBF-9D58-E8FFCC98FAB4}" type="presOf" srcId="{8BB2532D-44AB-484B-8A99-CD7678CC4BBD}" destId="{3A0AA5DF-390C-492F-A543-43C9DCB8ED98}" srcOrd="0" destOrd="0" presId="urn:microsoft.com/office/officeart/2009/layout/CircleArrowProcess"/>
    <dgm:cxn modelId="{70F661ED-2E56-41AC-8C43-3FB65AE0887F}" type="presOf" srcId="{6E50E118-0C48-4EBB-96D8-2FD355E9E093}" destId="{7BB00A70-A212-4FB6-9D1B-5D2C4D1847FC}" srcOrd="0" destOrd="0" presId="urn:microsoft.com/office/officeart/2009/layout/CircleArrowProcess"/>
    <dgm:cxn modelId="{55E6E588-30C1-4DC6-82C9-B7744511F454}" type="presOf" srcId="{D8140FC3-F949-4698-9F61-C42A4080B6C4}" destId="{9D198289-0FC6-4E10-B473-10CE1FFDA6BC}" srcOrd="0" destOrd="0" presId="urn:microsoft.com/office/officeart/2009/layout/CircleArrowProcess"/>
    <dgm:cxn modelId="{39BFD1CC-BC1A-49B0-B3B3-1345DF4CE39D}" srcId="{6BE1F923-6847-47D3-800A-65FE91E636A8}" destId="{6E50E118-0C48-4EBB-96D8-2FD355E9E093}" srcOrd="3" destOrd="0" parTransId="{71AC55DC-2260-4866-9E2F-25E780CED3C2}" sibTransId="{4376268D-3F0B-498E-A795-E13651EACFA2}"/>
    <dgm:cxn modelId="{4328EDAF-247F-49AE-A579-B1C649C6DAE3}" type="presOf" srcId="{1DB65159-59A8-4188-B6C9-C87411392150}" destId="{5C32D880-EDA2-4591-A13D-220E15431D7A}" srcOrd="0" destOrd="0" presId="urn:microsoft.com/office/officeart/2009/layout/CircleArrowProcess"/>
    <dgm:cxn modelId="{8AA7E0FD-ED3D-40A3-BC7F-E0C699691CD1}" type="presOf" srcId="{6BE1F923-6847-47D3-800A-65FE91E636A8}" destId="{35E9B24E-3CB1-4305-8C5D-76BABEC58885}" srcOrd="0" destOrd="0" presId="urn:microsoft.com/office/officeart/2009/layout/CircleArrowProcess"/>
    <dgm:cxn modelId="{0841BE70-F82D-48A2-A0F5-DBF57FDADF3E}" srcId="{6BE1F923-6847-47D3-800A-65FE91E636A8}" destId="{8BB2532D-44AB-484B-8A99-CD7678CC4BBD}" srcOrd="0" destOrd="0" parTransId="{B979A3F3-D16C-4C1E-BA82-998267278E13}" sibTransId="{37B4EA3F-158D-4AE3-9FB6-44BCEBD3C0EF}"/>
    <dgm:cxn modelId="{1ABAA67B-4E82-471D-A32F-5C6FB503A956}" srcId="{6BE1F923-6847-47D3-800A-65FE91E636A8}" destId="{1DB65159-59A8-4188-B6C9-C87411392150}" srcOrd="2" destOrd="0" parTransId="{26E24834-CEF0-4703-AB69-E9223D7EDB89}" sibTransId="{A95604AA-E08B-443F-ABFB-6E701914496D}"/>
    <dgm:cxn modelId="{194B35D6-5D78-4966-B4EB-5159ADB5A874}" srcId="{6BE1F923-6847-47D3-800A-65FE91E636A8}" destId="{D8140FC3-F949-4698-9F61-C42A4080B6C4}" srcOrd="1" destOrd="0" parTransId="{CCF15E43-733D-4389-9E43-75877E99E905}" sibTransId="{0C8FC618-14BA-4C3E-A3AC-08B8DC7C9CDD}"/>
    <dgm:cxn modelId="{4CBEAC20-DAE2-458C-A000-11DE59698F06}" type="presParOf" srcId="{35E9B24E-3CB1-4305-8C5D-76BABEC58885}" destId="{FD4B6BB5-2D01-4B4D-9AC4-FD704DB7A0A7}" srcOrd="0" destOrd="0" presId="urn:microsoft.com/office/officeart/2009/layout/CircleArrowProcess"/>
    <dgm:cxn modelId="{031F3983-476A-4B7F-89E8-20AA5FD60275}" type="presParOf" srcId="{FD4B6BB5-2D01-4B4D-9AC4-FD704DB7A0A7}" destId="{22E016A4-0C11-419B-ABB6-A49957BADAB5}" srcOrd="0" destOrd="0" presId="urn:microsoft.com/office/officeart/2009/layout/CircleArrowProcess"/>
    <dgm:cxn modelId="{EA423CC6-0696-48AA-A5B1-1DD91B5761A2}" type="presParOf" srcId="{35E9B24E-3CB1-4305-8C5D-76BABEC58885}" destId="{3A0AA5DF-390C-492F-A543-43C9DCB8ED98}" srcOrd="1" destOrd="0" presId="urn:microsoft.com/office/officeart/2009/layout/CircleArrowProcess"/>
    <dgm:cxn modelId="{B959DE17-C2D8-4B57-ACCC-2224F5C0785B}" type="presParOf" srcId="{35E9B24E-3CB1-4305-8C5D-76BABEC58885}" destId="{8661302E-3873-492E-98B2-07DEA92E16D3}" srcOrd="2" destOrd="0" presId="urn:microsoft.com/office/officeart/2009/layout/CircleArrowProcess"/>
    <dgm:cxn modelId="{C954B35A-BC8A-4C0D-97EA-8BE40411A32E}" type="presParOf" srcId="{8661302E-3873-492E-98B2-07DEA92E16D3}" destId="{A9F6735B-12A3-45D0-A6BB-BB09A09E0DC3}" srcOrd="0" destOrd="0" presId="urn:microsoft.com/office/officeart/2009/layout/CircleArrowProcess"/>
    <dgm:cxn modelId="{4C7D6AE1-DF0A-406F-8B07-94FAD36F404E}" type="presParOf" srcId="{35E9B24E-3CB1-4305-8C5D-76BABEC58885}" destId="{9D198289-0FC6-4E10-B473-10CE1FFDA6BC}" srcOrd="3" destOrd="0" presId="urn:microsoft.com/office/officeart/2009/layout/CircleArrowProcess"/>
    <dgm:cxn modelId="{AEFAA356-B414-4964-B2DB-1F26158EC04A}" type="presParOf" srcId="{35E9B24E-3CB1-4305-8C5D-76BABEC58885}" destId="{95803F48-3094-4A0D-BE54-C476BCCAE25B}" srcOrd="4" destOrd="0" presId="urn:microsoft.com/office/officeart/2009/layout/CircleArrowProcess"/>
    <dgm:cxn modelId="{BC05821E-BB06-4778-8653-F7D5B7E473EE}" type="presParOf" srcId="{95803F48-3094-4A0D-BE54-C476BCCAE25B}" destId="{1A40FF5B-8F4B-44EC-937A-E3C2F0D8B802}" srcOrd="0" destOrd="0" presId="urn:microsoft.com/office/officeart/2009/layout/CircleArrowProcess"/>
    <dgm:cxn modelId="{5B96D0A0-37C8-410C-9DD4-0B18BFBB51A1}" type="presParOf" srcId="{35E9B24E-3CB1-4305-8C5D-76BABEC58885}" destId="{5C32D880-EDA2-4591-A13D-220E15431D7A}" srcOrd="5" destOrd="0" presId="urn:microsoft.com/office/officeart/2009/layout/CircleArrowProcess"/>
    <dgm:cxn modelId="{353B0004-938A-4BC5-AF22-FA45202F4E55}" type="presParOf" srcId="{35E9B24E-3CB1-4305-8C5D-76BABEC58885}" destId="{2DE0F892-7EC4-49F8-8F9B-473DBA35BF69}" srcOrd="6" destOrd="0" presId="urn:microsoft.com/office/officeart/2009/layout/CircleArrowProcess"/>
    <dgm:cxn modelId="{72534296-24C3-43A6-884B-9F07B34C61A5}" type="presParOf" srcId="{2DE0F892-7EC4-49F8-8F9B-473DBA35BF69}" destId="{044BC376-A853-4EF2-97A8-49CBA3EBD329}" srcOrd="0" destOrd="0" presId="urn:microsoft.com/office/officeart/2009/layout/CircleArrowProcess"/>
    <dgm:cxn modelId="{7AFDFAB1-7EB1-40E4-B010-1A4769DD3201}" type="presParOf" srcId="{35E9B24E-3CB1-4305-8C5D-76BABEC58885}" destId="{7BB00A70-A212-4FB6-9D1B-5D2C4D1847FC}" srcOrd="7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BE1F923-6847-47D3-800A-65FE91E636A8}" type="doc">
      <dgm:prSet loTypeId="urn:microsoft.com/office/officeart/2009/layout/CircleArrowProcess" loCatId="cycl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BB2532D-44AB-484B-8A99-CD7678CC4BBD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1</a:t>
          </a:r>
          <a:endParaRPr lang="en-US" sz="900" b="1" dirty="0">
            <a:solidFill>
              <a:schemeClr val="accent3"/>
            </a:solidFill>
          </a:endParaRPr>
        </a:p>
      </dgm:t>
    </dgm:pt>
    <dgm:pt modelId="{B979A3F3-D16C-4C1E-BA82-998267278E13}" type="parTrans" cxnId="{0841BE70-F82D-48A2-A0F5-DBF57FDADF3E}">
      <dgm:prSet/>
      <dgm:spPr/>
      <dgm:t>
        <a:bodyPr/>
        <a:lstStyle/>
        <a:p>
          <a:endParaRPr lang="en-US"/>
        </a:p>
      </dgm:t>
    </dgm:pt>
    <dgm:pt modelId="{37B4EA3F-158D-4AE3-9FB6-44BCEBD3C0EF}" type="sibTrans" cxnId="{0841BE70-F82D-48A2-A0F5-DBF57FDADF3E}">
      <dgm:prSet/>
      <dgm:spPr/>
      <dgm:t>
        <a:bodyPr/>
        <a:lstStyle/>
        <a:p>
          <a:endParaRPr lang="en-US"/>
        </a:p>
      </dgm:t>
    </dgm:pt>
    <dgm:pt modelId="{D8140FC3-F949-4698-9F61-C42A4080B6C4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2</a:t>
          </a:r>
          <a:endParaRPr lang="en-US" sz="900" dirty="0">
            <a:solidFill>
              <a:schemeClr val="accent3"/>
            </a:solidFill>
          </a:endParaRPr>
        </a:p>
      </dgm:t>
    </dgm:pt>
    <dgm:pt modelId="{0C8FC618-14BA-4C3E-A3AC-08B8DC7C9CDD}" type="sibTrans" cxnId="{194B35D6-5D78-4966-B4EB-5159ADB5A874}">
      <dgm:prSet/>
      <dgm:spPr/>
      <dgm:t>
        <a:bodyPr/>
        <a:lstStyle/>
        <a:p>
          <a:endParaRPr lang="en-US"/>
        </a:p>
      </dgm:t>
    </dgm:pt>
    <dgm:pt modelId="{CCF15E43-733D-4389-9E43-75877E99E905}" type="parTrans" cxnId="{194B35D6-5D78-4966-B4EB-5159ADB5A874}">
      <dgm:prSet/>
      <dgm:spPr/>
      <dgm:t>
        <a:bodyPr/>
        <a:lstStyle/>
        <a:p>
          <a:endParaRPr lang="en-US"/>
        </a:p>
      </dgm:t>
    </dgm:pt>
    <dgm:pt modelId="{1DB65159-59A8-4188-B6C9-C87411392150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3</a:t>
          </a:r>
          <a:endParaRPr lang="en-US" sz="900" dirty="0">
            <a:solidFill>
              <a:schemeClr val="accent3"/>
            </a:solidFill>
          </a:endParaRPr>
        </a:p>
      </dgm:t>
    </dgm:pt>
    <dgm:pt modelId="{A95604AA-E08B-443F-ABFB-6E701914496D}" type="sibTrans" cxnId="{1ABAA67B-4E82-471D-A32F-5C6FB503A956}">
      <dgm:prSet/>
      <dgm:spPr/>
      <dgm:t>
        <a:bodyPr/>
        <a:lstStyle/>
        <a:p>
          <a:endParaRPr lang="en-US"/>
        </a:p>
      </dgm:t>
    </dgm:pt>
    <dgm:pt modelId="{26E24834-CEF0-4703-AB69-E9223D7EDB89}" type="parTrans" cxnId="{1ABAA67B-4E82-471D-A32F-5C6FB503A956}">
      <dgm:prSet/>
      <dgm:spPr/>
      <dgm:t>
        <a:bodyPr/>
        <a:lstStyle/>
        <a:p>
          <a:endParaRPr lang="en-US"/>
        </a:p>
      </dgm:t>
    </dgm:pt>
    <dgm:pt modelId="{6E50E118-0C48-4EBB-96D8-2FD355E9E093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4</a:t>
          </a:r>
          <a:endParaRPr lang="en-US" sz="900" b="1" dirty="0">
            <a:solidFill>
              <a:schemeClr val="accent3"/>
            </a:solidFill>
          </a:endParaRPr>
        </a:p>
      </dgm:t>
    </dgm:pt>
    <dgm:pt modelId="{4376268D-3F0B-498E-A795-E13651EACFA2}" type="sibTrans" cxnId="{39BFD1CC-BC1A-49B0-B3B3-1345DF4CE39D}">
      <dgm:prSet/>
      <dgm:spPr/>
      <dgm:t>
        <a:bodyPr/>
        <a:lstStyle/>
        <a:p>
          <a:endParaRPr lang="en-US"/>
        </a:p>
      </dgm:t>
    </dgm:pt>
    <dgm:pt modelId="{71AC55DC-2260-4866-9E2F-25E780CED3C2}" type="parTrans" cxnId="{39BFD1CC-BC1A-49B0-B3B3-1345DF4CE39D}">
      <dgm:prSet/>
      <dgm:spPr/>
      <dgm:t>
        <a:bodyPr/>
        <a:lstStyle/>
        <a:p>
          <a:endParaRPr lang="en-US"/>
        </a:p>
      </dgm:t>
    </dgm:pt>
    <dgm:pt modelId="{35E9B24E-3CB1-4305-8C5D-76BABEC58885}" type="pres">
      <dgm:prSet presAssocID="{6BE1F923-6847-47D3-800A-65FE91E636A8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D4B6BB5-2D01-4B4D-9AC4-FD704DB7A0A7}" type="pres">
      <dgm:prSet presAssocID="{8BB2532D-44AB-484B-8A99-CD7678CC4BBD}" presName="Accent1" presStyleCnt="0"/>
      <dgm:spPr/>
      <dgm:t>
        <a:bodyPr/>
        <a:lstStyle/>
        <a:p>
          <a:endParaRPr lang="en-US"/>
        </a:p>
      </dgm:t>
    </dgm:pt>
    <dgm:pt modelId="{22E016A4-0C11-419B-ABB6-A49957BADAB5}" type="pres">
      <dgm:prSet presAssocID="{8BB2532D-44AB-484B-8A99-CD7678CC4BBD}" presName="Accent" presStyleLbl="node1" presStyleIdx="0" presStyleCnt="4"/>
      <dgm:spPr/>
      <dgm:t>
        <a:bodyPr/>
        <a:lstStyle/>
        <a:p>
          <a:endParaRPr lang="en-US"/>
        </a:p>
      </dgm:t>
    </dgm:pt>
    <dgm:pt modelId="{3A0AA5DF-390C-492F-A543-43C9DCB8ED98}" type="pres">
      <dgm:prSet presAssocID="{8BB2532D-44AB-484B-8A99-CD7678CC4BBD}" presName="Parent1" presStyleLbl="revTx" presStyleIdx="0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61302E-3873-492E-98B2-07DEA92E16D3}" type="pres">
      <dgm:prSet presAssocID="{D8140FC3-F949-4698-9F61-C42A4080B6C4}" presName="Accent2" presStyleCnt="0"/>
      <dgm:spPr/>
      <dgm:t>
        <a:bodyPr/>
        <a:lstStyle/>
        <a:p>
          <a:endParaRPr lang="en-US"/>
        </a:p>
      </dgm:t>
    </dgm:pt>
    <dgm:pt modelId="{A9F6735B-12A3-45D0-A6BB-BB09A09E0DC3}" type="pres">
      <dgm:prSet presAssocID="{D8140FC3-F949-4698-9F61-C42A4080B6C4}" presName="Accent" presStyleLbl="node1" presStyleIdx="1" presStyleCnt="4"/>
      <dgm:spPr/>
      <dgm:t>
        <a:bodyPr/>
        <a:lstStyle/>
        <a:p>
          <a:endParaRPr lang="en-US"/>
        </a:p>
      </dgm:t>
    </dgm:pt>
    <dgm:pt modelId="{9D198289-0FC6-4E10-B473-10CE1FFDA6BC}" type="pres">
      <dgm:prSet presAssocID="{D8140FC3-F949-4698-9F61-C42A4080B6C4}" presName="Parent2" presStyleLbl="revTx" presStyleIdx="1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803F48-3094-4A0D-BE54-C476BCCAE25B}" type="pres">
      <dgm:prSet presAssocID="{1DB65159-59A8-4188-B6C9-C87411392150}" presName="Accent3" presStyleCnt="0"/>
      <dgm:spPr/>
      <dgm:t>
        <a:bodyPr/>
        <a:lstStyle/>
        <a:p>
          <a:endParaRPr lang="en-US"/>
        </a:p>
      </dgm:t>
    </dgm:pt>
    <dgm:pt modelId="{1A40FF5B-8F4B-44EC-937A-E3C2F0D8B802}" type="pres">
      <dgm:prSet presAssocID="{1DB65159-59A8-4188-B6C9-C87411392150}" presName="Accent" presStyleLbl="node1" presStyleIdx="2" presStyleCnt="4"/>
      <dgm:spPr/>
      <dgm:t>
        <a:bodyPr/>
        <a:lstStyle/>
        <a:p>
          <a:endParaRPr lang="en-US"/>
        </a:p>
      </dgm:t>
    </dgm:pt>
    <dgm:pt modelId="{5C32D880-EDA2-4591-A13D-220E15431D7A}" type="pres">
      <dgm:prSet presAssocID="{1DB65159-59A8-4188-B6C9-C87411392150}" presName="Parent3" presStyleLbl="revTx" presStyleIdx="2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E0F892-7EC4-49F8-8F9B-473DBA35BF69}" type="pres">
      <dgm:prSet presAssocID="{6E50E118-0C48-4EBB-96D8-2FD355E9E093}" presName="Accent4" presStyleCnt="0"/>
      <dgm:spPr/>
      <dgm:t>
        <a:bodyPr/>
        <a:lstStyle/>
        <a:p>
          <a:endParaRPr lang="en-US"/>
        </a:p>
      </dgm:t>
    </dgm:pt>
    <dgm:pt modelId="{044BC376-A853-4EF2-97A8-49CBA3EBD329}" type="pres">
      <dgm:prSet presAssocID="{6E50E118-0C48-4EBB-96D8-2FD355E9E093}" presName="Accent" presStyleLbl="node1" presStyleIdx="3" presStyleCnt="4"/>
      <dgm:spPr/>
      <dgm:t>
        <a:bodyPr/>
        <a:lstStyle/>
        <a:p>
          <a:endParaRPr lang="en-US"/>
        </a:p>
      </dgm:t>
    </dgm:pt>
    <dgm:pt modelId="{7BB00A70-A212-4FB6-9D1B-5D2C4D1847FC}" type="pres">
      <dgm:prSet presAssocID="{6E50E118-0C48-4EBB-96D8-2FD355E9E093}" presName="Parent4" presStyleLbl="revTx" presStyleIdx="3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CC8E1C6-297F-4CF9-9FE0-E0142D2B0BE8}" type="presOf" srcId="{8BB2532D-44AB-484B-8A99-CD7678CC4BBD}" destId="{3A0AA5DF-390C-492F-A543-43C9DCB8ED98}" srcOrd="0" destOrd="0" presId="urn:microsoft.com/office/officeart/2009/layout/CircleArrowProcess"/>
    <dgm:cxn modelId="{194B35D6-5D78-4966-B4EB-5159ADB5A874}" srcId="{6BE1F923-6847-47D3-800A-65FE91E636A8}" destId="{D8140FC3-F949-4698-9F61-C42A4080B6C4}" srcOrd="1" destOrd="0" parTransId="{CCF15E43-733D-4389-9E43-75877E99E905}" sibTransId="{0C8FC618-14BA-4C3E-A3AC-08B8DC7C9CDD}"/>
    <dgm:cxn modelId="{BAC31977-22C3-4570-988B-EE1A36461CB6}" type="presOf" srcId="{D8140FC3-F949-4698-9F61-C42A4080B6C4}" destId="{9D198289-0FC6-4E10-B473-10CE1FFDA6BC}" srcOrd="0" destOrd="0" presId="urn:microsoft.com/office/officeart/2009/layout/CircleArrowProcess"/>
    <dgm:cxn modelId="{C933BE80-C7E0-447F-B0BF-DC852EE58FAE}" type="presOf" srcId="{6E50E118-0C48-4EBB-96D8-2FD355E9E093}" destId="{7BB00A70-A212-4FB6-9D1B-5D2C4D1847FC}" srcOrd="0" destOrd="0" presId="urn:microsoft.com/office/officeart/2009/layout/CircleArrowProcess"/>
    <dgm:cxn modelId="{39907BF1-158A-413E-B3BA-5E5027A80505}" type="presOf" srcId="{1DB65159-59A8-4188-B6C9-C87411392150}" destId="{5C32D880-EDA2-4591-A13D-220E15431D7A}" srcOrd="0" destOrd="0" presId="urn:microsoft.com/office/officeart/2009/layout/CircleArrowProcess"/>
    <dgm:cxn modelId="{0841BE70-F82D-48A2-A0F5-DBF57FDADF3E}" srcId="{6BE1F923-6847-47D3-800A-65FE91E636A8}" destId="{8BB2532D-44AB-484B-8A99-CD7678CC4BBD}" srcOrd="0" destOrd="0" parTransId="{B979A3F3-D16C-4C1E-BA82-998267278E13}" sibTransId="{37B4EA3F-158D-4AE3-9FB6-44BCEBD3C0EF}"/>
    <dgm:cxn modelId="{B8379AAB-C47A-4391-BFBD-1E31B945FC68}" type="presOf" srcId="{6BE1F923-6847-47D3-800A-65FE91E636A8}" destId="{35E9B24E-3CB1-4305-8C5D-76BABEC58885}" srcOrd="0" destOrd="0" presId="urn:microsoft.com/office/officeart/2009/layout/CircleArrowProcess"/>
    <dgm:cxn modelId="{1ABAA67B-4E82-471D-A32F-5C6FB503A956}" srcId="{6BE1F923-6847-47D3-800A-65FE91E636A8}" destId="{1DB65159-59A8-4188-B6C9-C87411392150}" srcOrd="2" destOrd="0" parTransId="{26E24834-CEF0-4703-AB69-E9223D7EDB89}" sibTransId="{A95604AA-E08B-443F-ABFB-6E701914496D}"/>
    <dgm:cxn modelId="{39BFD1CC-BC1A-49B0-B3B3-1345DF4CE39D}" srcId="{6BE1F923-6847-47D3-800A-65FE91E636A8}" destId="{6E50E118-0C48-4EBB-96D8-2FD355E9E093}" srcOrd="3" destOrd="0" parTransId="{71AC55DC-2260-4866-9E2F-25E780CED3C2}" sibTransId="{4376268D-3F0B-498E-A795-E13651EACFA2}"/>
    <dgm:cxn modelId="{613EC086-923C-49C8-A931-277C6774801C}" type="presParOf" srcId="{35E9B24E-3CB1-4305-8C5D-76BABEC58885}" destId="{FD4B6BB5-2D01-4B4D-9AC4-FD704DB7A0A7}" srcOrd="0" destOrd="0" presId="urn:microsoft.com/office/officeart/2009/layout/CircleArrowProcess"/>
    <dgm:cxn modelId="{95293F51-6AFF-4B67-8FAC-455344503E18}" type="presParOf" srcId="{FD4B6BB5-2D01-4B4D-9AC4-FD704DB7A0A7}" destId="{22E016A4-0C11-419B-ABB6-A49957BADAB5}" srcOrd="0" destOrd="0" presId="urn:microsoft.com/office/officeart/2009/layout/CircleArrowProcess"/>
    <dgm:cxn modelId="{6D67197C-51EB-4679-B773-72F98A4FF700}" type="presParOf" srcId="{35E9B24E-3CB1-4305-8C5D-76BABEC58885}" destId="{3A0AA5DF-390C-492F-A543-43C9DCB8ED98}" srcOrd="1" destOrd="0" presId="urn:microsoft.com/office/officeart/2009/layout/CircleArrowProcess"/>
    <dgm:cxn modelId="{99B9B8B1-6A02-43D7-96AA-1C8CB38261B7}" type="presParOf" srcId="{35E9B24E-3CB1-4305-8C5D-76BABEC58885}" destId="{8661302E-3873-492E-98B2-07DEA92E16D3}" srcOrd="2" destOrd="0" presId="urn:microsoft.com/office/officeart/2009/layout/CircleArrowProcess"/>
    <dgm:cxn modelId="{7701483D-DC13-4841-8264-6A4DC34734AD}" type="presParOf" srcId="{8661302E-3873-492E-98B2-07DEA92E16D3}" destId="{A9F6735B-12A3-45D0-A6BB-BB09A09E0DC3}" srcOrd="0" destOrd="0" presId="urn:microsoft.com/office/officeart/2009/layout/CircleArrowProcess"/>
    <dgm:cxn modelId="{3D043B32-C9EA-4CBA-98AB-3796BE5BC6E9}" type="presParOf" srcId="{35E9B24E-3CB1-4305-8C5D-76BABEC58885}" destId="{9D198289-0FC6-4E10-B473-10CE1FFDA6BC}" srcOrd="3" destOrd="0" presId="urn:microsoft.com/office/officeart/2009/layout/CircleArrowProcess"/>
    <dgm:cxn modelId="{F5005381-E406-48C5-9EA3-4CB700E68295}" type="presParOf" srcId="{35E9B24E-3CB1-4305-8C5D-76BABEC58885}" destId="{95803F48-3094-4A0D-BE54-C476BCCAE25B}" srcOrd="4" destOrd="0" presId="urn:microsoft.com/office/officeart/2009/layout/CircleArrowProcess"/>
    <dgm:cxn modelId="{BA9B4908-E3AC-4E53-B9BD-6A7A513FA029}" type="presParOf" srcId="{95803F48-3094-4A0D-BE54-C476BCCAE25B}" destId="{1A40FF5B-8F4B-44EC-937A-E3C2F0D8B802}" srcOrd="0" destOrd="0" presId="urn:microsoft.com/office/officeart/2009/layout/CircleArrowProcess"/>
    <dgm:cxn modelId="{1037DF6C-D553-4134-9B84-A523A513F83E}" type="presParOf" srcId="{35E9B24E-3CB1-4305-8C5D-76BABEC58885}" destId="{5C32D880-EDA2-4591-A13D-220E15431D7A}" srcOrd="5" destOrd="0" presId="urn:microsoft.com/office/officeart/2009/layout/CircleArrowProcess"/>
    <dgm:cxn modelId="{733754D2-6AE2-4398-BA23-F18083EEFAC0}" type="presParOf" srcId="{35E9B24E-3CB1-4305-8C5D-76BABEC58885}" destId="{2DE0F892-7EC4-49F8-8F9B-473DBA35BF69}" srcOrd="6" destOrd="0" presId="urn:microsoft.com/office/officeart/2009/layout/CircleArrowProcess"/>
    <dgm:cxn modelId="{26988D9F-7651-46CE-9B16-2354147562D6}" type="presParOf" srcId="{2DE0F892-7EC4-49F8-8F9B-473DBA35BF69}" destId="{044BC376-A853-4EF2-97A8-49CBA3EBD329}" srcOrd="0" destOrd="0" presId="urn:microsoft.com/office/officeart/2009/layout/CircleArrowProcess"/>
    <dgm:cxn modelId="{A6F09A24-3A60-420F-9B0B-28548776E397}" type="presParOf" srcId="{35E9B24E-3CB1-4305-8C5D-76BABEC58885}" destId="{7BB00A70-A212-4FB6-9D1B-5D2C4D1847FC}" srcOrd="7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BE1F923-6847-47D3-800A-65FE91E636A8}" type="doc">
      <dgm:prSet loTypeId="urn:microsoft.com/office/officeart/2009/layout/CircleArrowProcess" loCatId="cycl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BB2532D-44AB-484B-8A99-CD7678CC4BBD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1</a:t>
          </a:r>
          <a:endParaRPr lang="en-US" sz="800" b="1" dirty="0">
            <a:solidFill>
              <a:schemeClr val="accent3"/>
            </a:solidFill>
          </a:endParaRPr>
        </a:p>
      </dgm:t>
    </dgm:pt>
    <dgm:pt modelId="{B979A3F3-D16C-4C1E-BA82-998267278E13}" type="parTrans" cxnId="{0841BE70-F82D-48A2-A0F5-DBF57FDADF3E}">
      <dgm:prSet/>
      <dgm:spPr/>
      <dgm:t>
        <a:bodyPr/>
        <a:lstStyle/>
        <a:p>
          <a:endParaRPr lang="en-US"/>
        </a:p>
      </dgm:t>
    </dgm:pt>
    <dgm:pt modelId="{37B4EA3F-158D-4AE3-9FB6-44BCEBD3C0EF}" type="sibTrans" cxnId="{0841BE70-F82D-48A2-A0F5-DBF57FDADF3E}">
      <dgm:prSet/>
      <dgm:spPr/>
      <dgm:t>
        <a:bodyPr/>
        <a:lstStyle/>
        <a:p>
          <a:endParaRPr lang="en-US"/>
        </a:p>
      </dgm:t>
    </dgm:pt>
    <dgm:pt modelId="{D8140FC3-F949-4698-9F61-C42A4080B6C4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2</a:t>
          </a:r>
          <a:endParaRPr lang="en-US" sz="800" dirty="0">
            <a:solidFill>
              <a:schemeClr val="accent3"/>
            </a:solidFill>
          </a:endParaRPr>
        </a:p>
      </dgm:t>
    </dgm:pt>
    <dgm:pt modelId="{0C8FC618-14BA-4C3E-A3AC-08B8DC7C9CDD}" type="sibTrans" cxnId="{194B35D6-5D78-4966-B4EB-5159ADB5A874}">
      <dgm:prSet/>
      <dgm:spPr/>
      <dgm:t>
        <a:bodyPr/>
        <a:lstStyle/>
        <a:p>
          <a:endParaRPr lang="en-US"/>
        </a:p>
      </dgm:t>
    </dgm:pt>
    <dgm:pt modelId="{CCF15E43-733D-4389-9E43-75877E99E905}" type="parTrans" cxnId="{194B35D6-5D78-4966-B4EB-5159ADB5A874}">
      <dgm:prSet/>
      <dgm:spPr/>
      <dgm:t>
        <a:bodyPr/>
        <a:lstStyle/>
        <a:p>
          <a:endParaRPr lang="en-US"/>
        </a:p>
      </dgm:t>
    </dgm:pt>
    <dgm:pt modelId="{1DB65159-59A8-4188-B6C9-C87411392150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3</a:t>
          </a:r>
          <a:endParaRPr lang="en-US" sz="800" dirty="0">
            <a:solidFill>
              <a:schemeClr val="accent3"/>
            </a:solidFill>
          </a:endParaRPr>
        </a:p>
      </dgm:t>
    </dgm:pt>
    <dgm:pt modelId="{A95604AA-E08B-443F-ABFB-6E701914496D}" type="sibTrans" cxnId="{1ABAA67B-4E82-471D-A32F-5C6FB503A956}">
      <dgm:prSet/>
      <dgm:spPr/>
      <dgm:t>
        <a:bodyPr/>
        <a:lstStyle/>
        <a:p>
          <a:endParaRPr lang="en-US"/>
        </a:p>
      </dgm:t>
    </dgm:pt>
    <dgm:pt modelId="{26E24834-CEF0-4703-AB69-E9223D7EDB89}" type="parTrans" cxnId="{1ABAA67B-4E82-471D-A32F-5C6FB503A956}">
      <dgm:prSet/>
      <dgm:spPr/>
      <dgm:t>
        <a:bodyPr/>
        <a:lstStyle/>
        <a:p>
          <a:endParaRPr lang="en-US"/>
        </a:p>
      </dgm:t>
    </dgm:pt>
    <dgm:pt modelId="{6E50E118-0C48-4EBB-96D8-2FD355E9E093}">
      <dgm:prSet phldrT="[Text]" custT="1"/>
      <dgm:spPr/>
      <dgm:t>
        <a:bodyPr/>
        <a:lstStyle/>
        <a:p>
          <a:r>
            <a:rPr lang="en-US" sz="900" b="1" dirty="0" smtClean="0">
              <a:solidFill>
                <a:schemeClr val="accent3"/>
              </a:solidFill>
            </a:rPr>
            <a:t>Iteration 4</a:t>
          </a:r>
          <a:endParaRPr lang="en-US" sz="800" b="1" dirty="0">
            <a:solidFill>
              <a:schemeClr val="accent3"/>
            </a:solidFill>
          </a:endParaRPr>
        </a:p>
      </dgm:t>
    </dgm:pt>
    <dgm:pt modelId="{4376268D-3F0B-498E-A795-E13651EACFA2}" type="sibTrans" cxnId="{39BFD1CC-BC1A-49B0-B3B3-1345DF4CE39D}">
      <dgm:prSet/>
      <dgm:spPr/>
      <dgm:t>
        <a:bodyPr/>
        <a:lstStyle/>
        <a:p>
          <a:endParaRPr lang="en-US"/>
        </a:p>
      </dgm:t>
    </dgm:pt>
    <dgm:pt modelId="{71AC55DC-2260-4866-9E2F-25E780CED3C2}" type="parTrans" cxnId="{39BFD1CC-BC1A-49B0-B3B3-1345DF4CE39D}">
      <dgm:prSet/>
      <dgm:spPr/>
      <dgm:t>
        <a:bodyPr/>
        <a:lstStyle/>
        <a:p>
          <a:endParaRPr lang="en-US"/>
        </a:p>
      </dgm:t>
    </dgm:pt>
    <dgm:pt modelId="{35E9B24E-3CB1-4305-8C5D-76BABEC58885}" type="pres">
      <dgm:prSet presAssocID="{6BE1F923-6847-47D3-800A-65FE91E636A8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D4B6BB5-2D01-4B4D-9AC4-FD704DB7A0A7}" type="pres">
      <dgm:prSet presAssocID="{8BB2532D-44AB-484B-8A99-CD7678CC4BBD}" presName="Accent1" presStyleCnt="0"/>
      <dgm:spPr/>
      <dgm:t>
        <a:bodyPr/>
        <a:lstStyle/>
        <a:p>
          <a:endParaRPr lang="en-US"/>
        </a:p>
      </dgm:t>
    </dgm:pt>
    <dgm:pt modelId="{22E016A4-0C11-419B-ABB6-A49957BADAB5}" type="pres">
      <dgm:prSet presAssocID="{8BB2532D-44AB-484B-8A99-CD7678CC4BBD}" presName="Accent" presStyleLbl="node1" presStyleIdx="0" presStyleCnt="4"/>
      <dgm:spPr/>
      <dgm:t>
        <a:bodyPr/>
        <a:lstStyle/>
        <a:p>
          <a:endParaRPr lang="en-US"/>
        </a:p>
      </dgm:t>
    </dgm:pt>
    <dgm:pt modelId="{3A0AA5DF-390C-492F-A543-43C9DCB8ED98}" type="pres">
      <dgm:prSet presAssocID="{8BB2532D-44AB-484B-8A99-CD7678CC4BBD}" presName="Parent1" presStyleLbl="revTx" presStyleIdx="0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61302E-3873-492E-98B2-07DEA92E16D3}" type="pres">
      <dgm:prSet presAssocID="{D8140FC3-F949-4698-9F61-C42A4080B6C4}" presName="Accent2" presStyleCnt="0"/>
      <dgm:spPr/>
      <dgm:t>
        <a:bodyPr/>
        <a:lstStyle/>
        <a:p>
          <a:endParaRPr lang="en-US"/>
        </a:p>
      </dgm:t>
    </dgm:pt>
    <dgm:pt modelId="{A9F6735B-12A3-45D0-A6BB-BB09A09E0DC3}" type="pres">
      <dgm:prSet presAssocID="{D8140FC3-F949-4698-9F61-C42A4080B6C4}" presName="Accent" presStyleLbl="node1" presStyleIdx="1" presStyleCnt="4"/>
      <dgm:spPr/>
      <dgm:t>
        <a:bodyPr/>
        <a:lstStyle/>
        <a:p>
          <a:endParaRPr lang="en-US"/>
        </a:p>
      </dgm:t>
    </dgm:pt>
    <dgm:pt modelId="{9D198289-0FC6-4E10-B473-10CE1FFDA6BC}" type="pres">
      <dgm:prSet presAssocID="{D8140FC3-F949-4698-9F61-C42A4080B6C4}" presName="Parent2" presStyleLbl="revTx" presStyleIdx="1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803F48-3094-4A0D-BE54-C476BCCAE25B}" type="pres">
      <dgm:prSet presAssocID="{1DB65159-59A8-4188-B6C9-C87411392150}" presName="Accent3" presStyleCnt="0"/>
      <dgm:spPr/>
      <dgm:t>
        <a:bodyPr/>
        <a:lstStyle/>
        <a:p>
          <a:endParaRPr lang="en-US"/>
        </a:p>
      </dgm:t>
    </dgm:pt>
    <dgm:pt modelId="{1A40FF5B-8F4B-44EC-937A-E3C2F0D8B802}" type="pres">
      <dgm:prSet presAssocID="{1DB65159-59A8-4188-B6C9-C87411392150}" presName="Accent" presStyleLbl="node1" presStyleIdx="2" presStyleCnt="4"/>
      <dgm:spPr/>
      <dgm:t>
        <a:bodyPr/>
        <a:lstStyle/>
        <a:p>
          <a:endParaRPr lang="en-US"/>
        </a:p>
      </dgm:t>
    </dgm:pt>
    <dgm:pt modelId="{5C32D880-EDA2-4591-A13D-220E15431D7A}" type="pres">
      <dgm:prSet presAssocID="{1DB65159-59A8-4188-B6C9-C87411392150}" presName="Parent3" presStyleLbl="revTx" presStyleIdx="2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E0F892-7EC4-49F8-8F9B-473DBA35BF69}" type="pres">
      <dgm:prSet presAssocID="{6E50E118-0C48-4EBB-96D8-2FD355E9E093}" presName="Accent4" presStyleCnt="0"/>
      <dgm:spPr/>
      <dgm:t>
        <a:bodyPr/>
        <a:lstStyle/>
        <a:p>
          <a:endParaRPr lang="en-US"/>
        </a:p>
      </dgm:t>
    </dgm:pt>
    <dgm:pt modelId="{044BC376-A853-4EF2-97A8-49CBA3EBD329}" type="pres">
      <dgm:prSet presAssocID="{6E50E118-0C48-4EBB-96D8-2FD355E9E093}" presName="Accent" presStyleLbl="node1" presStyleIdx="3" presStyleCnt="4"/>
      <dgm:spPr/>
      <dgm:t>
        <a:bodyPr/>
        <a:lstStyle/>
        <a:p>
          <a:endParaRPr lang="en-US"/>
        </a:p>
      </dgm:t>
    </dgm:pt>
    <dgm:pt modelId="{7BB00A70-A212-4FB6-9D1B-5D2C4D1847FC}" type="pres">
      <dgm:prSet presAssocID="{6E50E118-0C48-4EBB-96D8-2FD355E9E093}" presName="Parent4" presStyleLbl="revTx" presStyleIdx="3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9BFD1CC-BC1A-49B0-B3B3-1345DF4CE39D}" srcId="{6BE1F923-6847-47D3-800A-65FE91E636A8}" destId="{6E50E118-0C48-4EBB-96D8-2FD355E9E093}" srcOrd="3" destOrd="0" parTransId="{71AC55DC-2260-4866-9E2F-25E780CED3C2}" sibTransId="{4376268D-3F0B-498E-A795-E13651EACFA2}"/>
    <dgm:cxn modelId="{97FB59DE-4660-4BFD-9993-1344E5BC737F}" type="presOf" srcId="{8BB2532D-44AB-484B-8A99-CD7678CC4BBD}" destId="{3A0AA5DF-390C-492F-A543-43C9DCB8ED98}" srcOrd="0" destOrd="0" presId="urn:microsoft.com/office/officeart/2009/layout/CircleArrowProcess"/>
    <dgm:cxn modelId="{0841BE70-F82D-48A2-A0F5-DBF57FDADF3E}" srcId="{6BE1F923-6847-47D3-800A-65FE91E636A8}" destId="{8BB2532D-44AB-484B-8A99-CD7678CC4BBD}" srcOrd="0" destOrd="0" parTransId="{B979A3F3-D16C-4C1E-BA82-998267278E13}" sibTransId="{37B4EA3F-158D-4AE3-9FB6-44BCEBD3C0EF}"/>
    <dgm:cxn modelId="{FFA43BE9-AE08-4579-833D-09833B6A5ADD}" type="presOf" srcId="{1DB65159-59A8-4188-B6C9-C87411392150}" destId="{5C32D880-EDA2-4591-A13D-220E15431D7A}" srcOrd="0" destOrd="0" presId="urn:microsoft.com/office/officeart/2009/layout/CircleArrowProcess"/>
    <dgm:cxn modelId="{1ABAA67B-4E82-471D-A32F-5C6FB503A956}" srcId="{6BE1F923-6847-47D3-800A-65FE91E636A8}" destId="{1DB65159-59A8-4188-B6C9-C87411392150}" srcOrd="2" destOrd="0" parTransId="{26E24834-CEF0-4703-AB69-E9223D7EDB89}" sibTransId="{A95604AA-E08B-443F-ABFB-6E701914496D}"/>
    <dgm:cxn modelId="{194B35D6-5D78-4966-B4EB-5159ADB5A874}" srcId="{6BE1F923-6847-47D3-800A-65FE91E636A8}" destId="{D8140FC3-F949-4698-9F61-C42A4080B6C4}" srcOrd="1" destOrd="0" parTransId="{CCF15E43-733D-4389-9E43-75877E99E905}" sibTransId="{0C8FC618-14BA-4C3E-A3AC-08B8DC7C9CDD}"/>
    <dgm:cxn modelId="{9FA19363-88F8-47EF-9DC3-523AF149D42E}" type="presOf" srcId="{6BE1F923-6847-47D3-800A-65FE91E636A8}" destId="{35E9B24E-3CB1-4305-8C5D-76BABEC58885}" srcOrd="0" destOrd="0" presId="urn:microsoft.com/office/officeart/2009/layout/CircleArrowProcess"/>
    <dgm:cxn modelId="{5EFE7638-69FB-4695-B3D5-98B729DC097F}" type="presOf" srcId="{6E50E118-0C48-4EBB-96D8-2FD355E9E093}" destId="{7BB00A70-A212-4FB6-9D1B-5D2C4D1847FC}" srcOrd="0" destOrd="0" presId="urn:microsoft.com/office/officeart/2009/layout/CircleArrowProcess"/>
    <dgm:cxn modelId="{D625A4D6-7C44-4639-9E0E-63A9D35F680E}" type="presOf" srcId="{D8140FC3-F949-4698-9F61-C42A4080B6C4}" destId="{9D198289-0FC6-4E10-B473-10CE1FFDA6BC}" srcOrd="0" destOrd="0" presId="urn:microsoft.com/office/officeart/2009/layout/CircleArrowProcess"/>
    <dgm:cxn modelId="{659018FB-B2D0-4D53-B874-447B5074CA66}" type="presParOf" srcId="{35E9B24E-3CB1-4305-8C5D-76BABEC58885}" destId="{FD4B6BB5-2D01-4B4D-9AC4-FD704DB7A0A7}" srcOrd="0" destOrd="0" presId="urn:microsoft.com/office/officeart/2009/layout/CircleArrowProcess"/>
    <dgm:cxn modelId="{75B15899-C7F0-4A18-A9C2-24B8C9E58F19}" type="presParOf" srcId="{FD4B6BB5-2D01-4B4D-9AC4-FD704DB7A0A7}" destId="{22E016A4-0C11-419B-ABB6-A49957BADAB5}" srcOrd="0" destOrd="0" presId="urn:microsoft.com/office/officeart/2009/layout/CircleArrowProcess"/>
    <dgm:cxn modelId="{A26CD095-E94E-4ED6-A0D7-3ADD9D9B7CD0}" type="presParOf" srcId="{35E9B24E-3CB1-4305-8C5D-76BABEC58885}" destId="{3A0AA5DF-390C-492F-A543-43C9DCB8ED98}" srcOrd="1" destOrd="0" presId="urn:microsoft.com/office/officeart/2009/layout/CircleArrowProcess"/>
    <dgm:cxn modelId="{89B2C214-760C-4F07-A762-2D56C9E66954}" type="presParOf" srcId="{35E9B24E-3CB1-4305-8C5D-76BABEC58885}" destId="{8661302E-3873-492E-98B2-07DEA92E16D3}" srcOrd="2" destOrd="0" presId="urn:microsoft.com/office/officeart/2009/layout/CircleArrowProcess"/>
    <dgm:cxn modelId="{0821CC29-07E3-4F65-887A-88D872EDA99D}" type="presParOf" srcId="{8661302E-3873-492E-98B2-07DEA92E16D3}" destId="{A9F6735B-12A3-45D0-A6BB-BB09A09E0DC3}" srcOrd="0" destOrd="0" presId="urn:microsoft.com/office/officeart/2009/layout/CircleArrowProcess"/>
    <dgm:cxn modelId="{9B8F8D0D-3E26-4A00-85F0-6C92BAFDADDF}" type="presParOf" srcId="{35E9B24E-3CB1-4305-8C5D-76BABEC58885}" destId="{9D198289-0FC6-4E10-B473-10CE1FFDA6BC}" srcOrd="3" destOrd="0" presId="urn:microsoft.com/office/officeart/2009/layout/CircleArrowProcess"/>
    <dgm:cxn modelId="{8CE97783-1B3D-4CCD-B9F8-8D1BEE286576}" type="presParOf" srcId="{35E9B24E-3CB1-4305-8C5D-76BABEC58885}" destId="{95803F48-3094-4A0D-BE54-C476BCCAE25B}" srcOrd="4" destOrd="0" presId="urn:microsoft.com/office/officeart/2009/layout/CircleArrowProcess"/>
    <dgm:cxn modelId="{4A385AE4-E925-4C42-8C83-C7BFE3E144D3}" type="presParOf" srcId="{95803F48-3094-4A0D-BE54-C476BCCAE25B}" destId="{1A40FF5B-8F4B-44EC-937A-E3C2F0D8B802}" srcOrd="0" destOrd="0" presId="urn:microsoft.com/office/officeart/2009/layout/CircleArrowProcess"/>
    <dgm:cxn modelId="{BA164AC4-5DD3-4ADF-9D61-DD56C3BB9468}" type="presParOf" srcId="{35E9B24E-3CB1-4305-8C5D-76BABEC58885}" destId="{5C32D880-EDA2-4591-A13D-220E15431D7A}" srcOrd="5" destOrd="0" presId="urn:microsoft.com/office/officeart/2009/layout/CircleArrowProcess"/>
    <dgm:cxn modelId="{D36F9278-6FFB-469B-820D-7CD79AFF0AD6}" type="presParOf" srcId="{35E9B24E-3CB1-4305-8C5D-76BABEC58885}" destId="{2DE0F892-7EC4-49F8-8F9B-473DBA35BF69}" srcOrd="6" destOrd="0" presId="urn:microsoft.com/office/officeart/2009/layout/CircleArrowProcess"/>
    <dgm:cxn modelId="{CF62AEF8-A7DA-410E-A5A7-04321636463A}" type="presParOf" srcId="{2DE0F892-7EC4-49F8-8F9B-473DBA35BF69}" destId="{044BC376-A853-4EF2-97A8-49CBA3EBD329}" srcOrd="0" destOrd="0" presId="urn:microsoft.com/office/officeart/2009/layout/CircleArrowProcess"/>
    <dgm:cxn modelId="{0DC21B60-F841-4B16-8440-0AF79F3A1F05}" type="presParOf" srcId="{35E9B24E-3CB1-4305-8C5D-76BABEC58885}" destId="{7BB00A70-A212-4FB6-9D1B-5D2C4D1847FC}" srcOrd="7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A792121-1477-4DAD-9F8E-3B415DC3278A}" type="doc">
      <dgm:prSet loTypeId="urn:microsoft.com/office/officeart/2005/8/layout/equation2" loCatId="process" qsTypeId="urn:microsoft.com/office/officeart/2005/8/quickstyle/3d1" qsCatId="3D" csTypeId="urn:microsoft.com/office/officeart/2005/8/colors/accent1_2" csCatId="accent1" phldr="1"/>
      <dgm:spPr/>
    </dgm:pt>
    <dgm:pt modelId="{F2617EF0-DD1D-4D79-A25F-E6C4317747A6}">
      <dgm:prSet phldrT="[Text]"/>
      <dgm:spPr/>
      <dgm:t>
        <a:bodyPr/>
        <a:lstStyle/>
        <a:p>
          <a:r>
            <a:rPr lang="en-US" b="1" dirty="0" smtClean="0"/>
            <a:t>10 Min</a:t>
          </a:r>
          <a:endParaRPr lang="en-US" b="1" dirty="0"/>
        </a:p>
      </dgm:t>
    </dgm:pt>
    <dgm:pt modelId="{110857CA-1288-4F23-9392-04BF8DD18C34}" type="parTrans" cxnId="{5AC0B296-D3FC-4D5D-80DD-A093C54723EC}">
      <dgm:prSet/>
      <dgm:spPr/>
      <dgm:t>
        <a:bodyPr/>
        <a:lstStyle/>
        <a:p>
          <a:endParaRPr lang="en-US"/>
        </a:p>
      </dgm:t>
    </dgm:pt>
    <dgm:pt modelId="{F6D6F9F1-E8A0-4BF6-BDAE-C3625086ED85}" type="sibTrans" cxnId="{5AC0B296-D3FC-4D5D-80DD-A093C54723EC}">
      <dgm:prSet/>
      <dgm:spPr>
        <a:solidFill>
          <a:schemeClr val="accent4">
            <a:lumMod val="65000"/>
            <a:lumOff val="35000"/>
          </a:schemeClr>
        </a:solidFill>
      </dgm:spPr>
      <dgm:t>
        <a:bodyPr/>
        <a:lstStyle/>
        <a:p>
          <a:endParaRPr lang="en-US"/>
        </a:p>
      </dgm:t>
    </dgm:pt>
    <dgm:pt modelId="{8E179962-C57C-4885-A532-14899C6A785F}">
      <dgm:prSet phldrT="[Text]"/>
      <dgm:spPr/>
      <dgm:t>
        <a:bodyPr/>
        <a:lstStyle/>
        <a:p>
          <a:r>
            <a:rPr lang="en-US" b="1" dirty="0" smtClean="0"/>
            <a:t>10 Min</a:t>
          </a:r>
          <a:endParaRPr lang="en-US" b="1" dirty="0"/>
        </a:p>
      </dgm:t>
    </dgm:pt>
    <dgm:pt modelId="{5C5021B0-E6B6-4CC8-BA77-E0A977C005F0}" type="parTrans" cxnId="{E00AEF2E-DB7E-49B3-980D-615B2784F0C1}">
      <dgm:prSet/>
      <dgm:spPr/>
      <dgm:t>
        <a:bodyPr/>
        <a:lstStyle/>
        <a:p>
          <a:endParaRPr lang="en-US"/>
        </a:p>
      </dgm:t>
    </dgm:pt>
    <dgm:pt modelId="{9AC6841F-6423-40B7-9EB0-1A3B2765D13F}" type="sibTrans" cxnId="{E00AEF2E-DB7E-49B3-980D-615B2784F0C1}">
      <dgm:prSet/>
      <dgm:spPr>
        <a:solidFill>
          <a:schemeClr val="accent4">
            <a:lumMod val="65000"/>
            <a:lumOff val="35000"/>
          </a:schemeClr>
        </a:solidFill>
      </dgm:spPr>
      <dgm:t>
        <a:bodyPr/>
        <a:lstStyle/>
        <a:p>
          <a:endParaRPr lang="en-US"/>
        </a:p>
      </dgm:t>
    </dgm:pt>
    <dgm:pt modelId="{627D7B1F-3A29-4A46-9474-A11DD31EE056}">
      <dgm:prSet phldrT="[Text]"/>
      <dgm:spPr/>
      <dgm:t>
        <a:bodyPr/>
        <a:lstStyle/>
        <a:p>
          <a:r>
            <a:rPr lang="en-US" b="1" dirty="0" smtClean="0"/>
            <a:t>40 Min</a:t>
          </a:r>
          <a:endParaRPr lang="en-US" b="1" dirty="0"/>
        </a:p>
      </dgm:t>
    </dgm:pt>
    <dgm:pt modelId="{FCF5DD17-3A37-4783-BF26-110074EA7DDB}" type="parTrans" cxnId="{F4EF892E-670E-4404-A7A2-EE6A6D9BE20C}">
      <dgm:prSet/>
      <dgm:spPr/>
      <dgm:t>
        <a:bodyPr/>
        <a:lstStyle/>
        <a:p>
          <a:endParaRPr lang="en-US"/>
        </a:p>
      </dgm:t>
    </dgm:pt>
    <dgm:pt modelId="{211AF852-084D-4358-B10E-0BC2FC1159B4}" type="sibTrans" cxnId="{F4EF892E-670E-4404-A7A2-EE6A6D9BE20C}">
      <dgm:prSet/>
      <dgm:spPr/>
      <dgm:t>
        <a:bodyPr/>
        <a:lstStyle/>
        <a:p>
          <a:endParaRPr lang="en-US"/>
        </a:p>
      </dgm:t>
    </dgm:pt>
    <dgm:pt modelId="{FA6D08B8-7756-4AAD-8AD1-D00E0219B4EC}">
      <dgm:prSet phldrT="[Text]"/>
      <dgm:spPr/>
      <dgm:t>
        <a:bodyPr/>
        <a:lstStyle/>
        <a:p>
          <a:r>
            <a:rPr lang="en-US" b="1" dirty="0" smtClean="0"/>
            <a:t>10 Min</a:t>
          </a:r>
          <a:endParaRPr lang="en-US" dirty="0"/>
        </a:p>
      </dgm:t>
    </dgm:pt>
    <dgm:pt modelId="{8568E239-11E2-4BC1-9978-80636B82EECC}" type="parTrans" cxnId="{02785BB7-F81F-4C4B-844C-B868B62DFCF5}">
      <dgm:prSet/>
      <dgm:spPr/>
      <dgm:t>
        <a:bodyPr/>
        <a:lstStyle/>
        <a:p>
          <a:endParaRPr lang="en-US"/>
        </a:p>
      </dgm:t>
    </dgm:pt>
    <dgm:pt modelId="{6609B89E-E572-430F-B157-3E997C484D21}" type="sibTrans" cxnId="{02785BB7-F81F-4C4B-844C-B868B62DFCF5}">
      <dgm:prSet/>
      <dgm:spPr>
        <a:solidFill>
          <a:schemeClr val="accent4">
            <a:lumMod val="65000"/>
            <a:lumOff val="35000"/>
          </a:schemeClr>
        </a:solidFill>
      </dgm:spPr>
      <dgm:t>
        <a:bodyPr/>
        <a:lstStyle/>
        <a:p>
          <a:endParaRPr lang="en-US"/>
        </a:p>
      </dgm:t>
    </dgm:pt>
    <dgm:pt modelId="{39B4660F-7FC2-4947-B9A6-A3CC10F7EBBB}">
      <dgm:prSet phldrT="[Text]"/>
      <dgm:spPr/>
      <dgm:t>
        <a:bodyPr/>
        <a:lstStyle/>
        <a:p>
          <a:r>
            <a:rPr lang="en-US" b="1" dirty="0" smtClean="0"/>
            <a:t>10 Min</a:t>
          </a:r>
          <a:endParaRPr lang="en-US" dirty="0"/>
        </a:p>
      </dgm:t>
    </dgm:pt>
    <dgm:pt modelId="{478AA080-381D-48B3-BF00-4EE8F6FE19ED}" type="parTrans" cxnId="{4ED966D7-C5DA-4433-B967-9D8BC7877D72}">
      <dgm:prSet/>
      <dgm:spPr/>
      <dgm:t>
        <a:bodyPr/>
        <a:lstStyle/>
        <a:p>
          <a:endParaRPr lang="en-US"/>
        </a:p>
      </dgm:t>
    </dgm:pt>
    <dgm:pt modelId="{B2717FF3-34D4-49D0-B62B-F5D9C43CFAC3}" type="sibTrans" cxnId="{4ED966D7-C5DA-4433-B967-9D8BC7877D72}">
      <dgm:prSet/>
      <dgm:spPr>
        <a:solidFill>
          <a:schemeClr val="accent4">
            <a:lumMod val="65000"/>
            <a:lumOff val="35000"/>
          </a:schemeClr>
        </a:solidFill>
      </dgm:spPr>
      <dgm:t>
        <a:bodyPr/>
        <a:lstStyle/>
        <a:p>
          <a:endParaRPr lang="en-US"/>
        </a:p>
      </dgm:t>
    </dgm:pt>
    <dgm:pt modelId="{C16F040B-F694-4663-9853-2F1647261309}" type="pres">
      <dgm:prSet presAssocID="{EA792121-1477-4DAD-9F8E-3B415DC3278A}" presName="Name0" presStyleCnt="0">
        <dgm:presLayoutVars>
          <dgm:dir/>
          <dgm:resizeHandles val="exact"/>
        </dgm:presLayoutVars>
      </dgm:prSet>
      <dgm:spPr/>
    </dgm:pt>
    <dgm:pt modelId="{C412E2DB-BD19-4EC2-83FE-C6FF4F146328}" type="pres">
      <dgm:prSet presAssocID="{EA792121-1477-4DAD-9F8E-3B415DC3278A}" presName="vNodes" presStyleCnt="0"/>
      <dgm:spPr/>
    </dgm:pt>
    <dgm:pt modelId="{83C67EA0-7441-43E9-B5FA-A69DBEA4EBBC}" type="pres">
      <dgm:prSet presAssocID="{F2617EF0-DD1D-4D79-A25F-E6C4317747A6}" presName="node" presStyleLbl="node1" presStyleIdx="0" presStyleCnt="5" custLinFactNeighborX="60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65D08D-9FEF-4013-8B12-E1DCF4163462}" type="pres">
      <dgm:prSet presAssocID="{F6D6F9F1-E8A0-4BF6-BDAE-C3625086ED85}" presName="spacerT" presStyleCnt="0"/>
      <dgm:spPr/>
    </dgm:pt>
    <dgm:pt modelId="{0C4D7AF3-135F-4AE0-BAD7-2D7E2C8B0CE9}" type="pres">
      <dgm:prSet presAssocID="{F6D6F9F1-E8A0-4BF6-BDAE-C3625086ED85}" presName="sibTrans" presStyleLbl="sibTrans2D1" presStyleIdx="0" presStyleCnt="4"/>
      <dgm:spPr/>
      <dgm:t>
        <a:bodyPr/>
        <a:lstStyle/>
        <a:p>
          <a:endParaRPr lang="en-US"/>
        </a:p>
      </dgm:t>
    </dgm:pt>
    <dgm:pt modelId="{84CE6903-77B8-478D-B640-21267EAAD36C}" type="pres">
      <dgm:prSet presAssocID="{F6D6F9F1-E8A0-4BF6-BDAE-C3625086ED85}" presName="spacerB" presStyleCnt="0"/>
      <dgm:spPr/>
    </dgm:pt>
    <dgm:pt modelId="{2ACCCFEC-245D-4BAC-812E-22507C86FB5A}" type="pres">
      <dgm:prSet presAssocID="{8E179962-C57C-4885-A532-14899C6A785F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C6AF2E-8B5E-406D-B84E-E3841F4A389F}" type="pres">
      <dgm:prSet presAssocID="{9AC6841F-6423-40B7-9EB0-1A3B2765D13F}" presName="spacerT" presStyleCnt="0"/>
      <dgm:spPr/>
    </dgm:pt>
    <dgm:pt modelId="{D6808BDE-1F6C-4BDE-BFD8-2866C50DFCDD}" type="pres">
      <dgm:prSet presAssocID="{9AC6841F-6423-40B7-9EB0-1A3B2765D13F}" presName="sibTrans" presStyleLbl="sibTrans2D1" presStyleIdx="1" presStyleCnt="4"/>
      <dgm:spPr/>
      <dgm:t>
        <a:bodyPr/>
        <a:lstStyle/>
        <a:p>
          <a:endParaRPr lang="en-US"/>
        </a:p>
      </dgm:t>
    </dgm:pt>
    <dgm:pt modelId="{41BED42F-D57E-4A49-ACB4-C5CA8B90A6DC}" type="pres">
      <dgm:prSet presAssocID="{9AC6841F-6423-40B7-9EB0-1A3B2765D13F}" presName="spacerB" presStyleCnt="0"/>
      <dgm:spPr/>
    </dgm:pt>
    <dgm:pt modelId="{4A811F99-7CAB-42C7-B59B-E061A3765BD8}" type="pres">
      <dgm:prSet presAssocID="{39B4660F-7FC2-4947-B9A6-A3CC10F7EBBB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3A41181-FDFE-4604-97A2-30CF0510EE9B}" type="pres">
      <dgm:prSet presAssocID="{B2717FF3-34D4-49D0-B62B-F5D9C43CFAC3}" presName="spacerT" presStyleCnt="0"/>
      <dgm:spPr/>
    </dgm:pt>
    <dgm:pt modelId="{60EDDC4E-EEDF-4124-A055-B23AC0DFF056}" type="pres">
      <dgm:prSet presAssocID="{B2717FF3-34D4-49D0-B62B-F5D9C43CFAC3}" presName="sibTrans" presStyleLbl="sibTrans2D1" presStyleIdx="2" presStyleCnt="4"/>
      <dgm:spPr/>
      <dgm:t>
        <a:bodyPr/>
        <a:lstStyle/>
        <a:p>
          <a:endParaRPr lang="en-US"/>
        </a:p>
      </dgm:t>
    </dgm:pt>
    <dgm:pt modelId="{F0724460-CE3F-498C-9502-01E2DAFFF719}" type="pres">
      <dgm:prSet presAssocID="{B2717FF3-34D4-49D0-B62B-F5D9C43CFAC3}" presName="spacerB" presStyleCnt="0"/>
      <dgm:spPr/>
    </dgm:pt>
    <dgm:pt modelId="{9597C488-7E97-4E0C-BD87-D6308AC5C014}" type="pres">
      <dgm:prSet presAssocID="{FA6D08B8-7756-4AAD-8AD1-D00E0219B4EC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50ADCE-D325-4070-A4ED-91A3FAACDCE2}" type="pres">
      <dgm:prSet presAssocID="{EA792121-1477-4DAD-9F8E-3B415DC3278A}" presName="sibTransLast" presStyleLbl="sibTrans2D1" presStyleIdx="3" presStyleCnt="4"/>
      <dgm:spPr/>
      <dgm:t>
        <a:bodyPr/>
        <a:lstStyle/>
        <a:p>
          <a:endParaRPr lang="en-US"/>
        </a:p>
      </dgm:t>
    </dgm:pt>
    <dgm:pt modelId="{E9F9F979-252F-41DF-BA70-9DE9AFB9B8F3}" type="pres">
      <dgm:prSet presAssocID="{EA792121-1477-4DAD-9F8E-3B415DC3278A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2CF25473-6339-49F7-A9A9-D2888ED999CB}" type="pres">
      <dgm:prSet presAssocID="{EA792121-1477-4DAD-9F8E-3B415DC3278A}" presName="lastNode" presStyleLbl="node1" presStyleIdx="4" presStyleCnt="5" custLinFactNeighborX="542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217ED67-3008-476F-8B32-F295992A5796}" type="presOf" srcId="{F2617EF0-DD1D-4D79-A25F-E6C4317747A6}" destId="{83C67EA0-7441-43E9-B5FA-A69DBEA4EBBC}" srcOrd="0" destOrd="0" presId="urn:microsoft.com/office/officeart/2005/8/layout/equation2"/>
    <dgm:cxn modelId="{E00AEF2E-DB7E-49B3-980D-615B2784F0C1}" srcId="{EA792121-1477-4DAD-9F8E-3B415DC3278A}" destId="{8E179962-C57C-4885-A532-14899C6A785F}" srcOrd="1" destOrd="0" parTransId="{5C5021B0-E6B6-4CC8-BA77-E0A977C005F0}" sibTransId="{9AC6841F-6423-40B7-9EB0-1A3B2765D13F}"/>
    <dgm:cxn modelId="{B80B2081-F248-4F4A-80A7-C07E02584454}" type="presOf" srcId="{6609B89E-E572-430F-B157-3E997C484D21}" destId="{8950ADCE-D325-4070-A4ED-91A3FAACDCE2}" srcOrd="0" destOrd="0" presId="urn:microsoft.com/office/officeart/2005/8/layout/equation2"/>
    <dgm:cxn modelId="{5AC0B296-D3FC-4D5D-80DD-A093C54723EC}" srcId="{EA792121-1477-4DAD-9F8E-3B415DC3278A}" destId="{F2617EF0-DD1D-4D79-A25F-E6C4317747A6}" srcOrd="0" destOrd="0" parTransId="{110857CA-1288-4F23-9392-04BF8DD18C34}" sibTransId="{F6D6F9F1-E8A0-4BF6-BDAE-C3625086ED85}"/>
    <dgm:cxn modelId="{6EFBFF38-EF34-41C5-BFC4-C728065CD6BB}" type="presOf" srcId="{39B4660F-7FC2-4947-B9A6-A3CC10F7EBBB}" destId="{4A811F99-7CAB-42C7-B59B-E061A3765BD8}" srcOrd="0" destOrd="0" presId="urn:microsoft.com/office/officeart/2005/8/layout/equation2"/>
    <dgm:cxn modelId="{F4EF892E-670E-4404-A7A2-EE6A6D9BE20C}" srcId="{EA792121-1477-4DAD-9F8E-3B415DC3278A}" destId="{627D7B1F-3A29-4A46-9474-A11DD31EE056}" srcOrd="4" destOrd="0" parTransId="{FCF5DD17-3A37-4783-BF26-110074EA7DDB}" sibTransId="{211AF852-084D-4358-B10E-0BC2FC1159B4}"/>
    <dgm:cxn modelId="{166CA4E0-F785-4E0F-B790-8D821881ED10}" type="presOf" srcId="{8E179962-C57C-4885-A532-14899C6A785F}" destId="{2ACCCFEC-245D-4BAC-812E-22507C86FB5A}" srcOrd="0" destOrd="0" presId="urn:microsoft.com/office/officeart/2005/8/layout/equation2"/>
    <dgm:cxn modelId="{E6F9DF18-7924-452F-B5AE-B30AB0398831}" type="presOf" srcId="{FA6D08B8-7756-4AAD-8AD1-D00E0219B4EC}" destId="{9597C488-7E97-4E0C-BD87-D6308AC5C014}" srcOrd="0" destOrd="0" presId="urn:microsoft.com/office/officeart/2005/8/layout/equation2"/>
    <dgm:cxn modelId="{72B75219-619C-4E8B-8756-2140FEF22640}" type="presOf" srcId="{6609B89E-E572-430F-B157-3E997C484D21}" destId="{E9F9F979-252F-41DF-BA70-9DE9AFB9B8F3}" srcOrd="1" destOrd="0" presId="urn:microsoft.com/office/officeart/2005/8/layout/equation2"/>
    <dgm:cxn modelId="{C605D804-9433-43FD-885D-0EF355D4AA1F}" type="presOf" srcId="{9AC6841F-6423-40B7-9EB0-1A3B2765D13F}" destId="{D6808BDE-1F6C-4BDE-BFD8-2866C50DFCDD}" srcOrd="0" destOrd="0" presId="urn:microsoft.com/office/officeart/2005/8/layout/equation2"/>
    <dgm:cxn modelId="{E7BFE26A-4880-43AF-A54D-E3EB2A344244}" type="presOf" srcId="{627D7B1F-3A29-4A46-9474-A11DD31EE056}" destId="{2CF25473-6339-49F7-A9A9-D2888ED999CB}" srcOrd="0" destOrd="0" presId="urn:microsoft.com/office/officeart/2005/8/layout/equation2"/>
    <dgm:cxn modelId="{1B17A1DF-217C-461C-A070-2D35F0D5A93B}" type="presOf" srcId="{EA792121-1477-4DAD-9F8E-3B415DC3278A}" destId="{C16F040B-F694-4663-9853-2F1647261309}" srcOrd="0" destOrd="0" presId="urn:microsoft.com/office/officeart/2005/8/layout/equation2"/>
    <dgm:cxn modelId="{02785BB7-F81F-4C4B-844C-B868B62DFCF5}" srcId="{EA792121-1477-4DAD-9F8E-3B415DC3278A}" destId="{FA6D08B8-7756-4AAD-8AD1-D00E0219B4EC}" srcOrd="3" destOrd="0" parTransId="{8568E239-11E2-4BC1-9978-80636B82EECC}" sibTransId="{6609B89E-E572-430F-B157-3E997C484D21}"/>
    <dgm:cxn modelId="{4D25A8EF-70CA-430A-9BC5-9494EE23FA48}" type="presOf" srcId="{B2717FF3-34D4-49D0-B62B-F5D9C43CFAC3}" destId="{60EDDC4E-EEDF-4124-A055-B23AC0DFF056}" srcOrd="0" destOrd="0" presId="urn:microsoft.com/office/officeart/2005/8/layout/equation2"/>
    <dgm:cxn modelId="{27C29AE1-25E4-4DD0-B6EE-FAAEFBB57946}" type="presOf" srcId="{F6D6F9F1-E8A0-4BF6-BDAE-C3625086ED85}" destId="{0C4D7AF3-135F-4AE0-BAD7-2D7E2C8B0CE9}" srcOrd="0" destOrd="0" presId="urn:microsoft.com/office/officeart/2005/8/layout/equation2"/>
    <dgm:cxn modelId="{4ED966D7-C5DA-4433-B967-9D8BC7877D72}" srcId="{EA792121-1477-4DAD-9F8E-3B415DC3278A}" destId="{39B4660F-7FC2-4947-B9A6-A3CC10F7EBBB}" srcOrd="2" destOrd="0" parTransId="{478AA080-381D-48B3-BF00-4EE8F6FE19ED}" sibTransId="{B2717FF3-34D4-49D0-B62B-F5D9C43CFAC3}"/>
    <dgm:cxn modelId="{F5507400-96C4-4B9A-86D6-2381EFFB9EE0}" type="presParOf" srcId="{C16F040B-F694-4663-9853-2F1647261309}" destId="{C412E2DB-BD19-4EC2-83FE-C6FF4F146328}" srcOrd="0" destOrd="0" presId="urn:microsoft.com/office/officeart/2005/8/layout/equation2"/>
    <dgm:cxn modelId="{794A74F6-A65F-43EA-B65F-9897F6C31392}" type="presParOf" srcId="{C412E2DB-BD19-4EC2-83FE-C6FF4F146328}" destId="{83C67EA0-7441-43E9-B5FA-A69DBEA4EBBC}" srcOrd="0" destOrd="0" presId="urn:microsoft.com/office/officeart/2005/8/layout/equation2"/>
    <dgm:cxn modelId="{31EA6132-98B8-41E8-8B66-5F07300AD579}" type="presParOf" srcId="{C412E2DB-BD19-4EC2-83FE-C6FF4F146328}" destId="{4465D08D-9FEF-4013-8B12-E1DCF4163462}" srcOrd="1" destOrd="0" presId="urn:microsoft.com/office/officeart/2005/8/layout/equation2"/>
    <dgm:cxn modelId="{0B60162D-80E3-4C85-819C-E45B3FA8C423}" type="presParOf" srcId="{C412E2DB-BD19-4EC2-83FE-C6FF4F146328}" destId="{0C4D7AF3-135F-4AE0-BAD7-2D7E2C8B0CE9}" srcOrd="2" destOrd="0" presId="urn:microsoft.com/office/officeart/2005/8/layout/equation2"/>
    <dgm:cxn modelId="{A27A8A44-D81D-4D06-BFE2-B71F6799A055}" type="presParOf" srcId="{C412E2DB-BD19-4EC2-83FE-C6FF4F146328}" destId="{84CE6903-77B8-478D-B640-21267EAAD36C}" srcOrd="3" destOrd="0" presId="urn:microsoft.com/office/officeart/2005/8/layout/equation2"/>
    <dgm:cxn modelId="{4ED5CDAE-9258-484F-A23A-25C6264DD975}" type="presParOf" srcId="{C412E2DB-BD19-4EC2-83FE-C6FF4F146328}" destId="{2ACCCFEC-245D-4BAC-812E-22507C86FB5A}" srcOrd="4" destOrd="0" presId="urn:microsoft.com/office/officeart/2005/8/layout/equation2"/>
    <dgm:cxn modelId="{BD4E4CB5-B4B1-4A3C-945A-5A6296745280}" type="presParOf" srcId="{C412E2DB-BD19-4EC2-83FE-C6FF4F146328}" destId="{94C6AF2E-8B5E-406D-B84E-E3841F4A389F}" srcOrd="5" destOrd="0" presId="urn:microsoft.com/office/officeart/2005/8/layout/equation2"/>
    <dgm:cxn modelId="{6B0EEA11-454A-4247-97EE-EC708EA0A8AF}" type="presParOf" srcId="{C412E2DB-BD19-4EC2-83FE-C6FF4F146328}" destId="{D6808BDE-1F6C-4BDE-BFD8-2866C50DFCDD}" srcOrd="6" destOrd="0" presId="urn:microsoft.com/office/officeart/2005/8/layout/equation2"/>
    <dgm:cxn modelId="{A29971D0-D8A1-409B-ABE7-759F087FB442}" type="presParOf" srcId="{C412E2DB-BD19-4EC2-83FE-C6FF4F146328}" destId="{41BED42F-D57E-4A49-ACB4-C5CA8B90A6DC}" srcOrd="7" destOrd="0" presId="urn:microsoft.com/office/officeart/2005/8/layout/equation2"/>
    <dgm:cxn modelId="{CB16DC8A-4B32-4B13-AAF2-34E26AEAA8E6}" type="presParOf" srcId="{C412E2DB-BD19-4EC2-83FE-C6FF4F146328}" destId="{4A811F99-7CAB-42C7-B59B-E061A3765BD8}" srcOrd="8" destOrd="0" presId="urn:microsoft.com/office/officeart/2005/8/layout/equation2"/>
    <dgm:cxn modelId="{2DD7CAB9-749B-477A-A443-8AAE0E6D1D5F}" type="presParOf" srcId="{C412E2DB-BD19-4EC2-83FE-C6FF4F146328}" destId="{E3A41181-FDFE-4604-97A2-30CF0510EE9B}" srcOrd="9" destOrd="0" presId="urn:microsoft.com/office/officeart/2005/8/layout/equation2"/>
    <dgm:cxn modelId="{5B00E6B9-709F-4598-AD68-82E7E1411EE9}" type="presParOf" srcId="{C412E2DB-BD19-4EC2-83FE-C6FF4F146328}" destId="{60EDDC4E-EEDF-4124-A055-B23AC0DFF056}" srcOrd="10" destOrd="0" presId="urn:microsoft.com/office/officeart/2005/8/layout/equation2"/>
    <dgm:cxn modelId="{64ABC15F-C584-4C27-9061-F35B16FDE71B}" type="presParOf" srcId="{C412E2DB-BD19-4EC2-83FE-C6FF4F146328}" destId="{F0724460-CE3F-498C-9502-01E2DAFFF719}" srcOrd="11" destOrd="0" presId="urn:microsoft.com/office/officeart/2005/8/layout/equation2"/>
    <dgm:cxn modelId="{9702D825-695C-4C66-B0B5-4CCA042BF09F}" type="presParOf" srcId="{C412E2DB-BD19-4EC2-83FE-C6FF4F146328}" destId="{9597C488-7E97-4E0C-BD87-D6308AC5C014}" srcOrd="12" destOrd="0" presId="urn:microsoft.com/office/officeart/2005/8/layout/equation2"/>
    <dgm:cxn modelId="{98112D13-A529-4B76-8342-DB51C66E51A1}" type="presParOf" srcId="{C16F040B-F694-4663-9853-2F1647261309}" destId="{8950ADCE-D325-4070-A4ED-91A3FAACDCE2}" srcOrd="1" destOrd="0" presId="urn:microsoft.com/office/officeart/2005/8/layout/equation2"/>
    <dgm:cxn modelId="{1B24B94D-1D21-4DBD-A65E-EC889CC244F9}" type="presParOf" srcId="{8950ADCE-D325-4070-A4ED-91A3FAACDCE2}" destId="{E9F9F979-252F-41DF-BA70-9DE9AFB9B8F3}" srcOrd="0" destOrd="0" presId="urn:microsoft.com/office/officeart/2005/8/layout/equation2"/>
    <dgm:cxn modelId="{FE521D78-8D8B-4CAA-A626-E5A508FE9CA6}" type="presParOf" srcId="{C16F040B-F694-4663-9853-2F1647261309}" destId="{2CF25473-6339-49F7-A9A9-D2888ED999CB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EA11CC0-F27C-4EBC-9D7D-E635092D0406}" type="doc">
      <dgm:prSet loTypeId="urn:microsoft.com/office/officeart/2005/8/layout/hList2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CC15012-D88B-487D-8263-7015C76203DD}">
      <dgm:prSet phldrT="[Text]" custT="1"/>
      <dgm:spPr/>
      <dgm:t>
        <a:bodyPr/>
        <a:lstStyle/>
        <a:p>
          <a:pPr algn="ctr"/>
          <a:r>
            <a:rPr lang="en-US" sz="1600" b="1" dirty="0" smtClean="0"/>
            <a:t>Parallel Execution</a:t>
          </a:r>
          <a:endParaRPr lang="en-US" sz="1600" b="1" dirty="0"/>
        </a:p>
      </dgm:t>
    </dgm:pt>
    <dgm:pt modelId="{64D1680E-D7DE-4933-8DDD-DE8E57573861}" type="parTrans" cxnId="{DB11ED3F-8570-41F7-92DD-EEC474B3C618}">
      <dgm:prSet/>
      <dgm:spPr/>
      <dgm:t>
        <a:bodyPr/>
        <a:lstStyle/>
        <a:p>
          <a:endParaRPr lang="en-US"/>
        </a:p>
      </dgm:t>
    </dgm:pt>
    <dgm:pt modelId="{E2951D68-64E9-43C4-9C06-02BCA8FA02EE}" type="sibTrans" cxnId="{DB11ED3F-8570-41F7-92DD-EEC474B3C618}">
      <dgm:prSet/>
      <dgm:spPr/>
      <dgm:t>
        <a:bodyPr/>
        <a:lstStyle/>
        <a:p>
          <a:endParaRPr lang="en-US"/>
        </a:p>
      </dgm:t>
    </dgm:pt>
    <dgm:pt modelId="{B24299A3-EFB7-4250-B369-E78EBE5675E4}">
      <dgm:prSet phldrT="[Text]" custT="1"/>
      <dgm:spPr/>
      <dgm:t>
        <a:bodyPr/>
        <a:lstStyle/>
        <a:p>
          <a:pPr algn="ctr"/>
          <a:r>
            <a:rPr lang="en-US" sz="1600" b="1" dirty="0" smtClean="0"/>
            <a:t>Parallel Execution</a:t>
          </a:r>
          <a:endParaRPr lang="en-US" sz="1600" b="1" dirty="0"/>
        </a:p>
      </dgm:t>
    </dgm:pt>
    <dgm:pt modelId="{7B7C0F99-C427-43D9-A074-D43B476D6EB6}" type="parTrans" cxnId="{F34E4B4C-942B-402B-8CBC-49B368F56204}">
      <dgm:prSet/>
      <dgm:spPr/>
      <dgm:t>
        <a:bodyPr/>
        <a:lstStyle/>
        <a:p>
          <a:endParaRPr lang="en-US"/>
        </a:p>
      </dgm:t>
    </dgm:pt>
    <dgm:pt modelId="{38EEAB1F-C03A-44EB-A51B-4AFBE42B2ED1}" type="sibTrans" cxnId="{F34E4B4C-942B-402B-8CBC-49B368F56204}">
      <dgm:prSet/>
      <dgm:spPr/>
      <dgm:t>
        <a:bodyPr/>
        <a:lstStyle/>
        <a:p>
          <a:endParaRPr lang="en-US"/>
        </a:p>
      </dgm:t>
    </dgm:pt>
    <dgm:pt modelId="{DC4C8AA0-3F88-4807-8B40-A9F09E371749}">
      <dgm:prSet phldrT="[Text]" custT="1"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</a:pPr>
          <a:endParaRPr lang="en-US" sz="1600" dirty="0"/>
        </a:p>
      </dgm:t>
    </dgm:pt>
    <dgm:pt modelId="{0B1252B1-D006-4638-80DB-E74B519DDC90}" type="parTrans" cxnId="{BC17337B-350C-453D-8FFA-AA65632A394A}">
      <dgm:prSet/>
      <dgm:spPr/>
      <dgm:t>
        <a:bodyPr/>
        <a:lstStyle/>
        <a:p>
          <a:endParaRPr lang="en-US"/>
        </a:p>
      </dgm:t>
    </dgm:pt>
    <dgm:pt modelId="{D39D8EFF-456C-4201-870F-1692E220EA30}" type="sibTrans" cxnId="{BC17337B-350C-453D-8FFA-AA65632A394A}">
      <dgm:prSet/>
      <dgm:spPr/>
      <dgm:t>
        <a:bodyPr/>
        <a:lstStyle/>
        <a:p>
          <a:endParaRPr lang="en-US"/>
        </a:p>
      </dgm:t>
    </dgm:pt>
    <dgm:pt modelId="{3F77FEC0-1DFF-4180-9E62-A49E9EEF271D}">
      <dgm:prSet phldrT="[Text]" custT="1"/>
      <dgm:spPr/>
      <dgm:t>
        <a:bodyPr/>
        <a:lstStyle/>
        <a:p>
          <a:pPr algn="ctr"/>
          <a:r>
            <a:rPr lang="en-US" sz="1600" b="1" dirty="0" smtClean="0"/>
            <a:t>Parallel Execution</a:t>
          </a:r>
          <a:endParaRPr lang="en-US" sz="1600" b="1" dirty="0"/>
        </a:p>
      </dgm:t>
    </dgm:pt>
    <dgm:pt modelId="{2AD5DDCB-3D86-450D-BB68-0583A1A4247D}" type="parTrans" cxnId="{D6863C98-0A91-440E-B964-976BC41C3AAF}">
      <dgm:prSet/>
      <dgm:spPr/>
      <dgm:t>
        <a:bodyPr/>
        <a:lstStyle/>
        <a:p>
          <a:endParaRPr lang="en-US"/>
        </a:p>
      </dgm:t>
    </dgm:pt>
    <dgm:pt modelId="{9B36D780-D0FE-4FB5-B82D-814BC4E94832}" type="sibTrans" cxnId="{D6863C98-0A91-440E-B964-976BC41C3AAF}">
      <dgm:prSet/>
      <dgm:spPr/>
      <dgm:t>
        <a:bodyPr/>
        <a:lstStyle/>
        <a:p>
          <a:endParaRPr lang="en-US"/>
        </a:p>
      </dgm:t>
    </dgm:pt>
    <dgm:pt modelId="{C3030A83-9863-41E1-AE74-8E61E18A3318}">
      <dgm:prSet phldrT="[Text]" custT="1"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</a:pPr>
          <a:endParaRPr lang="en-US" sz="1600" dirty="0"/>
        </a:p>
      </dgm:t>
    </dgm:pt>
    <dgm:pt modelId="{3631D557-5C17-4CA2-85B7-B318BB7B1A55}" type="parTrans" cxnId="{D9C65A4A-29AC-4286-821A-51DF689B243B}">
      <dgm:prSet/>
      <dgm:spPr/>
      <dgm:t>
        <a:bodyPr/>
        <a:lstStyle/>
        <a:p>
          <a:endParaRPr lang="en-US"/>
        </a:p>
      </dgm:t>
    </dgm:pt>
    <dgm:pt modelId="{843F487F-5B11-459F-8096-4A6C4DEA5EA8}" type="sibTrans" cxnId="{D9C65A4A-29AC-4286-821A-51DF689B243B}">
      <dgm:prSet/>
      <dgm:spPr/>
      <dgm:t>
        <a:bodyPr/>
        <a:lstStyle/>
        <a:p>
          <a:endParaRPr lang="en-US"/>
        </a:p>
      </dgm:t>
    </dgm:pt>
    <dgm:pt modelId="{A1377254-1C65-45BB-9E97-F1229F21374A}" type="pres">
      <dgm:prSet presAssocID="{2EA11CC0-F27C-4EBC-9D7D-E635092D0406}" presName="linearFlow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BBA63BCC-DA54-4C0A-B5EB-222E21FE90DC}" type="pres">
      <dgm:prSet presAssocID="{8CC15012-D88B-487D-8263-7015C76203DD}" presName="compositeNode" presStyleCnt="0">
        <dgm:presLayoutVars>
          <dgm:bulletEnabled val="1"/>
        </dgm:presLayoutVars>
      </dgm:prSet>
      <dgm:spPr/>
    </dgm:pt>
    <dgm:pt modelId="{DCDDCA21-46E5-479E-BA6C-6BD57D27042C}" type="pres">
      <dgm:prSet presAssocID="{8CC15012-D88B-487D-8263-7015C76203DD}" presName="image" presStyleLbl="fgImgPlace1" presStyleIdx="0" presStyleCnt="3"/>
      <dgm:spPr/>
    </dgm:pt>
    <dgm:pt modelId="{A1E0CA5B-EB15-4706-8B88-6C1320DF8A16}" type="pres">
      <dgm:prSet presAssocID="{8CC15012-D88B-487D-8263-7015C76203DD}" presName="childNode" presStyleLbl="node1" presStyleIdx="0" presStyleCnt="3" custLinFactNeighborY="117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F49616-8AE2-4582-ADC5-2E0DF2210543}" type="pres">
      <dgm:prSet presAssocID="{8CC15012-D88B-487D-8263-7015C76203DD}" presName="parentNode" presStyleLbl="revTx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B6953-9B89-4597-B77A-FAD3E0BE0517}" type="pres">
      <dgm:prSet presAssocID="{E2951D68-64E9-43C4-9C06-02BCA8FA02EE}" presName="sibTrans" presStyleCnt="0"/>
      <dgm:spPr/>
    </dgm:pt>
    <dgm:pt modelId="{1F44B0EE-87E1-4725-93E7-0DCD4A0F1CFC}" type="pres">
      <dgm:prSet presAssocID="{B24299A3-EFB7-4250-B369-E78EBE5675E4}" presName="compositeNode" presStyleCnt="0">
        <dgm:presLayoutVars>
          <dgm:bulletEnabled val="1"/>
        </dgm:presLayoutVars>
      </dgm:prSet>
      <dgm:spPr/>
    </dgm:pt>
    <dgm:pt modelId="{A195BAC8-0E36-4C90-B3E5-A6F77209376C}" type="pres">
      <dgm:prSet presAssocID="{B24299A3-EFB7-4250-B369-E78EBE5675E4}" presName="image" presStyleLbl="fgImgPlace1" presStyleIdx="1" presStyleCnt="3"/>
      <dgm:spPr/>
    </dgm:pt>
    <dgm:pt modelId="{4D3FFD46-7C39-4122-9928-452034EDFBAD}" type="pres">
      <dgm:prSet presAssocID="{B24299A3-EFB7-4250-B369-E78EBE5675E4}" presName="child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1BF8A3-35E2-43DA-94F4-4DF0AA218CDE}" type="pres">
      <dgm:prSet presAssocID="{B24299A3-EFB7-4250-B369-E78EBE5675E4}" presName="parentNode" presStyleLbl="revTx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E79652-B913-4365-9E20-9A49F70ED1BF}" type="pres">
      <dgm:prSet presAssocID="{38EEAB1F-C03A-44EB-A51B-4AFBE42B2ED1}" presName="sibTrans" presStyleCnt="0"/>
      <dgm:spPr/>
    </dgm:pt>
    <dgm:pt modelId="{7CE52CC4-E070-43B9-AD39-0BAE0F92B910}" type="pres">
      <dgm:prSet presAssocID="{3F77FEC0-1DFF-4180-9E62-A49E9EEF271D}" presName="compositeNode" presStyleCnt="0">
        <dgm:presLayoutVars>
          <dgm:bulletEnabled val="1"/>
        </dgm:presLayoutVars>
      </dgm:prSet>
      <dgm:spPr/>
    </dgm:pt>
    <dgm:pt modelId="{37E0A131-5810-4CCA-BDFA-603B5AF908F0}" type="pres">
      <dgm:prSet presAssocID="{3F77FEC0-1DFF-4180-9E62-A49E9EEF271D}" presName="image" presStyleLbl="fgImgPlace1" presStyleIdx="2" presStyleCnt="3"/>
      <dgm:spPr/>
    </dgm:pt>
    <dgm:pt modelId="{3486DD22-4045-4902-AAB4-FC9FFB3F9B7C}" type="pres">
      <dgm:prSet presAssocID="{3F77FEC0-1DFF-4180-9E62-A49E9EEF271D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8D6DEF-9F4B-4FE9-A3A4-617B58B91940}" type="pres">
      <dgm:prSet presAssocID="{3F77FEC0-1DFF-4180-9E62-A49E9EEF271D}" presName="parentNode" presStyleLbl="revTx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5FA4A55-C9A5-45CA-A64F-76E164301E4D}" type="presOf" srcId="{8CC15012-D88B-487D-8263-7015C76203DD}" destId="{3CF49616-8AE2-4582-ADC5-2E0DF2210543}" srcOrd="0" destOrd="0" presId="urn:microsoft.com/office/officeart/2005/8/layout/hList2"/>
    <dgm:cxn modelId="{C6FADA1F-45DB-491A-A0D4-D5DD3ED545C0}" type="presOf" srcId="{DC4C8AA0-3F88-4807-8B40-A9F09E371749}" destId="{4D3FFD46-7C39-4122-9928-452034EDFBAD}" srcOrd="0" destOrd="0" presId="urn:microsoft.com/office/officeart/2005/8/layout/hList2"/>
    <dgm:cxn modelId="{DF37C882-68B5-40DE-A7AF-E6BBF61B6858}" type="presOf" srcId="{C3030A83-9863-41E1-AE74-8E61E18A3318}" destId="{3486DD22-4045-4902-AAB4-FC9FFB3F9B7C}" srcOrd="0" destOrd="0" presId="urn:microsoft.com/office/officeart/2005/8/layout/hList2"/>
    <dgm:cxn modelId="{F34E4B4C-942B-402B-8CBC-49B368F56204}" srcId="{2EA11CC0-F27C-4EBC-9D7D-E635092D0406}" destId="{B24299A3-EFB7-4250-B369-E78EBE5675E4}" srcOrd="1" destOrd="0" parTransId="{7B7C0F99-C427-43D9-A074-D43B476D6EB6}" sibTransId="{38EEAB1F-C03A-44EB-A51B-4AFBE42B2ED1}"/>
    <dgm:cxn modelId="{3E44A550-C01C-4EEF-904C-C1351EDCCF2F}" type="presOf" srcId="{3F77FEC0-1DFF-4180-9E62-A49E9EEF271D}" destId="{588D6DEF-9F4B-4FE9-A3A4-617B58B91940}" srcOrd="0" destOrd="0" presId="urn:microsoft.com/office/officeart/2005/8/layout/hList2"/>
    <dgm:cxn modelId="{DB11ED3F-8570-41F7-92DD-EEC474B3C618}" srcId="{2EA11CC0-F27C-4EBC-9D7D-E635092D0406}" destId="{8CC15012-D88B-487D-8263-7015C76203DD}" srcOrd="0" destOrd="0" parTransId="{64D1680E-D7DE-4933-8DDD-DE8E57573861}" sibTransId="{E2951D68-64E9-43C4-9C06-02BCA8FA02EE}"/>
    <dgm:cxn modelId="{D54B3EB1-24DC-42DB-B620-DB6570A5A2DE}" type="presOf" srcId="{B24299A3-EFB7-4250-B369-E78EBE5675E4}" destId="{251BF8A3-35E2-43DA-94F4-4DF0AA218CDE}" srcOrd="0" destOrd="0" presId="urn:microsoft.com/office/officeart/2005/8/layout/hList2"/>
    <dgm:cxn modelId="{401CFE82-16D3-477E-BD88-C8B8237C12CF}" type="presOf" srcId="{2EA11CC0-F27C-4EBC-9D7D-E635092D0406}" destId="{A1377254-1C65-45BB-9E97-F1229F21374A}" srcOrd="0" destOrd="0" presId="urn:microsoft.com/office/officeart/2005/8/layout/hList2"/>
    <dgm:cxn modelId="{BC17337B-350C-453D-8FFA-AA65632A394A}" srcId="{B24299A3-EFB7-4250-B369-E78EBE5675E4}" destId="{DC4C8AA0-3F88-4807-8B40-A9F09E371749}" srcOrd="0" destOrd="0" parTransId="{0B1252B1-D006-4638-80DB-E74B519DDC90}" sibTransId="{D39D8EFF-456C-4201-870F-1692E220EA30}"/>
    <dgm:cxn modelId="{D9C65A4A-29AC-4286-821A-51DF689B243B}" srcId="{3F77FEC0-1DFF-4180-9E62-A49E9EEF271D}" destId="{C3030A83-9863-41E1-AE74-8E61E18A3318}" srcOrd="0" destOrd="0" parTransId="{3631D557-5C17-4CA2-85B7-B318BB7B1A55}" sibTransId="{843F487F-5B11-459F-8096-4A6C4DEA5EA8}"/>
    <dgm:cxn modelId="{D6863C98-0A91-440E-B964-976BC41C3AAF}" srcId="{2EA11CC0-F27C-4EBC-9D7D-E635092D0406}" destId="{3F77FEC0-1DFF-4180-9E62-A49E9EEF271D}" srcOrd="2" destOrd="0" parTransId="{2AD5DDCB-3D86-450D-BB68-0583A1A4247D}" sibTransId="{9B36D780-D0FE-4FB5-B82D-814BC4E94832}"/>
    <dgm:cxn modelId="{426D7635-0F0A-462C-A845-8AD23CAFFFFA}" type="presParOf" srcId="{A1377254-1C65-45BB-9E97-F1229F21374A}" destId="{BBA63BCC-DA54-4C0A-B5EB-222E21FE90DC}" srcOrd="0" destOrd="0" presId="urn:microsoft.com/office/officeart/2005/8/layout/hList2"/>
    <dgm:cxn modelId="{367740B6-5729-4059-A98E-5F24ED25FD43}" type="presParOf" srcId="{BBA63BCC-DA54-4C0A-B5EB-222E21FE90DC}" destId="{DCDDCA21-46E5-479E-BA6C-6BD57D27042C}" srcOrd="0" destOrd="0" presId="urn:microsoft.com/office/officeart/2005/8/layout/hList2"/>
    <dgm:cxn modelId="{5BCA8A91-95BD-49CB-A2BE-E250FB46CECD}" type="presParOf" srcId="{BBA63BCC-DA54-4C0A-B5EB-222E21FE90DC}" destId="{A1E0CA5B-EB15-4706-8B88-6C1320DF8A16}" srcOrd="1" destOrd="0" presId="urn:microsoft.com/office/officeart/2005/8/layout/hList2"/>
    <dgm:cxn modelId="{CE789F28-2E21-467B-A77B-49E80A4EFE24}" type="presParOf" srcId="{BBA63BCC-DA54-4C0A-B5EB-222E21FE90DC}" destId="{3CF49616-8AE2-4582-ADC5-2E0DF2210543}" srcOrd="2" destOrd="0" presId="urn:microsoft.com/office/officeart/2005/8/layout/hList2"/>
    <dgm:cxn modelId="{7FFC20E1-DA69-4FEC-986D-CDBCA6E3C262}" type="presParOf" srcId="{A1377254-1C65-45BB-9E97-F1229F21374A}" destId="{9ADB6953-9B89-4597-B77A-FAD3E0BE0517}" srcOrd="1" destOrd="0" presId="urn:microsoft.com/office/officeart/2005/8/layout/hList2"/>
    <dgm:cxn modelId="{B8ABD1DB-8C9A-4F2B-845D-00220F3F70E7}" type="presParOf" srcId="{A1377254-1C65-45BB-9E97-F1229F21374A}" destId="{1F44B0EE-87E1-4725-93E7-0DCD4A0F1CFC}" srcOrd="2" destOrd="0" presId="urn:microsoft.com/office/officeart/2005/8/layout/hList2"/>
    <dgm:cxn modelId="{973EB5BB-7994-41E7-A061-78329F5BD508}" type="presParOf" srcId="{1F44B0EE-87E1-4725-93E7-0DCD4A0F1CFC}" destId="{A195BAC8-0E36-4C90-B3E5-A6F77209376C}" srcOrd="0" destOrd="0" presId="urn:microsoft.com/office/officeart/2005/8/layout/hList2"/>
    <dgm:cxn modelId="{F6259BDF-1103-4423-86F8-034D9BB71B32}" type="presParOf" srcId="{1F44B0EE-87E1-4725-93E7-0DCD4A0F1CFC}" destId="{4D3FFD46-7C39-4122-9928-452034EDFBAD}" srcOrd="1" destOrd="0" presId="urn:microsoft.com/office/officeart/2005/8/layout/hList2"/>
    <dgm:cxn modelId="{619F48C4-E3AD-4E0D-B631-ED63D109AD03}" type="presParOf" srcId="{1F44B0EE-87E1-4725-93E7-0DCD4A0F1CFC}" destId="{251BF8A3-35E2-43DA-94F4-4DF0AA218CDE}" srcOrd="2" destOrd="0" presId="urn:microsoft.com/office/officeart/2005/8/layout/hList2"/>
    <dgm:cxn modelId="{67D40402-CC9F-46C2-B88B-8DAA3029BFF8}" type="presParOf" srcId="{A1377254-1C65-45BB-9E97-F1229F21374A}" destId="{18E79652-B913-4365-9E20-9A49F70ED1BF}" srcOrd="3" destOrd="0" presId="urn:microsoft.com/office/officeart/2005/8/layout/hList2"/>
    <dgm:cxn modelId="{C80BFB88-D6F5-4214-82B5-5A6BA5120E62}" type="presParOf" srcId="{A1377254-1C65-45BB-9E97-F1229F21374A}" destId="{7CE52CC4-E070-43B9-AD39-0BAE0F92B910}" srcOrd="4" destOrd="0" presId="urn:microsoft.com/office/officeart/2005/8/layout/hList2"/>
    <dgm:cxn modelId="{55033CD6-1C40-4B16-B2B3-CA5EA81CC96D}" type="presParOf" srcId="{7CE52CC4-E070-43B9-AD39-0BAE0F92B910}" destId="{37E0A131-5810-4CCA-BDFA-603B5AF908F0}" srcOrd="0" destOrd="0" presId="urn:microsoft.com/office/officeart/2005/8/layout/hList2"/>
    <dgm:cxn modelId="{3DFF1517-BF28-4792-8341-99996F00CF84}" type="presParOf" srcId="{7CE52CC4-E070-43B9-AD39-0BAE0F92B910}" destId="{3486DD22-4045-4902-AAB4-FC9FFB3F9B7C}" srcOrd="1" destOrd="0" presId="urn:microsoft.com/office/officeart/2005/8/layout/hList2"/>
    <dgm:cxn modelId="{32B013B0-5E56-4C1C-9F0D-9D5F3DA4CF57}" type="presParOf" srcId="{7CE52CC4-E070-43B9-AD39-0BAE0F92B910}" destId="{588D6DEF-9F4B-4FE9-A3A4-617B58B91940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A50CFB5-298B-41F1-80BA-9D7FDF9646DD}" type="doc">
      <dgm:prSet loTypeId="urn:microsoft.com/office/officeart/2005/8/layout/hList3" loCatId="list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9C96343-AC7D-4822-AA96-A4066AF6CE64}">
      <dgm:prSet phldrT="[Text]" custT="1"/>
      <dgm:spPr/>
      <dgm:t>
        <a:bodyPr/>
        <a:lstStyle/>
        <a:p>
          <a:r>
            <a:rPr lang="en-US" sz="1050" b="1" dirty="0" smtClean="0"/>
            <a:t>Parent Thread</a:t>
          </a:r>
        </a:p>
        <a:p>
          <a:endParaRPr lang="en-US" sz="1000" b="1" dirty="0"/>
        </a:p>
      </dgm:t>
    </dgm:pt>
    <dgm:pt modelId="{EC3D28E0-EB24-451E-A5AC-AAC7C44BF00E}" type="parTrans" cxnId="{34539100-744A-48E6-9A50-82E9FB51A3CA}">
      <dgm:prSet/>
      <dgm:spPr/>
      <dgm:t>
        <a:bodyPr/>
        <a:lstStyle/>
        <a:p>
          <a:endParaRPr lang="en-US"/>
        </a:p>
      </dgm:t>
    </dgm:pt>
    <dgm:pt modelId="{74CD4966-0010-4FAE-BBB1-3617C13FACD3}" type="sibTrans" cxnId="{34539100-744A-48E6-9A50-82E9FB51A3CA}">
      <dgm:prSet/>
      <dgm:spPr/>
      <dgm:t>
        <a:bodyPr/>
        <a:lstStyle/>
        <a:p>
          <a:endParaRPr lang="en-US"/>
        </a:p>
      </dgm:t>
    </dgm:pt>
    <dgm:pt modelId="{AF5ADBC7-D9F6-4CA3-88A9-8BB98509FC8F}">
      <dgm:prSet phldrT="[Text]" custT="1"/>
      <dgm:spPr/>
      <dgm:t>
        <a:bodyPr/>
        <a:lstStyle/>
        <a:p>
          <a:r>
            <a:rPr lang="en-US" sz="800" b="1" dirty="0" smtClean="0"/>
            <a:t>Thread </a:t>
          </a:r>
          <a:endParaRPr lang="en-US" sz="800" b="1" dirty="0"/>
        </a:p>
      </dgm:t>
    </dgm:pt>
    <dgm:pt modelId="{0E6B1E88-A8D1-4AF6-8BA2-139FD4272157}" type="parTrans" cxnId="{A820DAB0-8B47-44E3-9ED1-71F4F9E79B2B}">
      <dgm:prSet/>
      <dgm:spPr/>
      <dgm:t>
        <a:bodyPr/>
        <a:lstStyle/>
        <a:p>
          <a:endParaRPr lang="en-US"/>
        </a:p>
      </dgm:t>
    </dgm:pt>
    <dgm:pt modelId="{81CD1BE7-6986-4F1E-AAAA-7BF0BC15D264}" type="sibTrans" cxnId="{A820DAB0-8B47-44E3-9ED1-71F4F9E79B2B}">
      <dgm:prSet/>
      <dgm:spPr/>
      <dgm:t>
        <a:bodyPr/>
        <a:lstStyle/>
        <a:p>
          <a:endParaRPr lang="en-US"/>
        </a:p>
      </dgm:t>
    </dgm:pt>
    <dgm:pt modelId="{AAB70359-4ABB-44EE-9118-556320A7DDAA}">
      <dgm:prSet phldrT="[Text]" custT="1"/>
      <dgm:spPr/>
      <dgm:t>
        <a:bodyPr/>
        <a:lstStyle/>
        <a:p>
          <a:r>
            <a:rPr lang="en-US" sz="800" b="1" dirty="0" smtClean="0"/>
            <a:t>Thread </a:t>
          </a:r>
          <a:endParaRPr lang="en-US" sz="800" b="1" dirty="0"/>
        </a:p>
      </dgm:t>
    </dgm:pt>
    <dgm:pt modelId="{4AAEA163-7190-43D6-B9FE-AC0C677EB541}" type="parTrans" cxnId="{249D7520-6C72-4BD2-96AA-B6BA64EA2F99}">
      <dgm:prSet/>
      <dgm:spPr/>
      <dgm:t>
        <a:bodyPr/>
        <a:lstStyle/>
        <a:p>
          <a:endParaRPr lang="en-US"/>
        </a:p>
      </dgm:t>
    </dgm:pt>
    <dgm:pt modelId="{4C975709-4505-456E-BA4F-C710E6C534C2}" type="sibTrans" cxnId="{249D7520-6C72-4BD2-96AA-B6BA64EA2F99}">
      <dgm:prSet/>
      <dgm:spPr/>
      <dgm:t>
        <a:bodyPr/>
        <a:lstStyle/>
        <a:p>
          <a:endParaRPr lang="en-US"/>
        </a:p>
      </dgm:t>
    </dgm:pt>
    <dgm:pt modelId="{8E65F5D3-7A69-43DE-9007-5038DB31946D}">
      <dgm:prSet phldrT="[Text]" custT="1"/>
      <dgm:spPr/>
      <dgm:t>
        <a:bodyPr/>
        <a:lstStyle/>
        <a:p>
          <a:r>
            <a:rPr lang="en-US" sz="800" b="1" dirty="0" smtClean="0"/>
            <a:t>Thread </a:t>
          </a:r>
          <a:endParaRPr lang="en-US" sz="900" b="1" dirty="0"/>
        </a:p>
      </dgm:t>
    </dgm:pt>
    <dgm:pt modelId="{3820FA68-355F-4C71-8522-4F09BF485AE3}" type="parTrans" cxnId="{CB9FD6D8-D007-422B-B903-3A89B5E290FC}">
      <dgm:prSet/>
      <dgm:spPr/>
      <dgm:t>
        <a:bodyPr/>
        <a:lstStyle/>
        <a:p>
          <a:endParaRPr lang="en-US"/>
        </a:p>
      </dgm:t>
    </dgm:pt>
    <dgm:pt modelId="{2A0F511D-80CF-4A94-9B37-FF997077A6F6}" type="sibTrans" cxnId="{CB9FD6D8-D007-422B-B903-3A89B5E290FC}">
      <dgm:prSet/>
      <dgm:spPr/>
      <dgm:t>
        <a:bodyPr/>
        <a:lstStyle/>
        <a:p>
          <a:endParaRPr lang="en-US"/>
        </a:p>
      </dgm:t>
    </dgm:pt>
    <dgm:pt modelId="{8839684C-E011-451A-9E36-E4120779B17C}" type="pres">
      <dgm:prSet presAssocID="{6A50CFB5-298B-41F1-80BA-9D7FDF9646DD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F49AA59-F7B9-49A7-8528-4D5A3DC43D6E}" type="pres">
      <dgm:prSet presAssocID="{C9C96343-AC7D-4822-AA96-A4066AF6CE64}" presName="roof" presStyleLbl="dkBgShp" presStyleIdx="0" presStyleCnt="2"/>
      <dgm:spPr/>
      <dgm:t>
        <a:bodyPr/>
        <a:lstStyle/>
        <a:p>
          <a:endParaRPr lang="en-US"/>
        </a:p>
      </dgm:t>
    </dgm:pt>
    <dgm:pt modelId="{43A2893B-E2C6-440C-88DE-613DC0B74F91}" type="pres">
      <dgm:prSet presAssocID="{C9C96343-AC7D-4822-AA96-A4066AF6CE64}" presName="pillars" presStyleCnt="0"/>
      <dgm:spPr/>
    </dgm:pt>
    <dgm:pt modelId="{CE65B083-E16C-418B-8B9A-A9B0DAE3A85B}" type="pres">
      <dgm:prSet presAssocID="{C9C96343-AC7D-4822-AA96-A4066AF6CE64}" presName="pillar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F1C47E-DC98-451B-A494-E96BDFF5D4EB}" type="pres">
      <dgm:prSet presAssocID="{AAB70359-4ABB-44EE-9118-556320A7DDAA}" presName="pillar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170A9D-0A63-46F2-8D94-9ED3FE249EFF}" type="pres">
      <dgm:prSet presAssocID="{8E65F5D3-7A69-43DE-9007-5038DB31946D}" presName="pillar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BCF1594-0C20-436F-8BE9-04AD010C3620}" type="pres">
      <dgm:prSet presAssocID="{C9C96343-AC7D-4822-AA96-A4066AF6CE64}" presName="base" presStyleLbl="dkBgShp" presStyleIdx="1" presStyleCnt="2"/>
      <dgm:spPr/>
    </dgm:pt>
  </dgm:ptLst>
  <dgm:cxnLst>
    <dgm:cxn modelId="{249D7520-6C72-4BD2-96AA-B6BA64EA2F99}" srcId="{C9C96343-AC7D-4822-AA96-A4066AF6CE64}" destId="{AAB70359-4ABB-44EE-9118-556320A7DDAA}" srcOrd="1" destOrd="0" parTransId="{4AAEA163-7190-43D6-B9FE-AC0C677EB541}" sibTransId="{4C975709-4505-456E-BA4F-C710E6C534C2}"/>
    <dgm:cxn modelId="{3A2006A6-DACE-42FA-B4AC-71D0AA6A4378}" type="presOf" srcId="{AF5ADBC7-D9F6-4CA3-88A9-8BB98509FC8F}" destId="{CE65B083-E16C-418B-8B9A-A9B0DAE3A85B}" srcOrd="0" destOrd="0" presId="urn:microsoft.com/office/officeart/2005/8/layout/hList3"/>
    <dgm:cxn modelId="{9BCA096E-80B4-4828-8D13-8D9AA2D7BAC3}" type="presOf" srcId="{6A50CFB5-298B-41F1-80BA-9D7FDF9646DD}" destId="{8839684C-E011-451A-9E36-E4120779B17C}" srcOrd="0" destOrd="0" presId="urn:microsoft.com/office/officeart/2005/8/layout/hList3"/>
    <dgm:cxn modelId="{FAB03818-2593-4316-BE96-434BF852EF2C}" type="presOf" srcId="{C9C96343-AC7D-4822-AA96-A4066AF6CE64}" destId="{AF49AA59-F7B9-49A7-8528-4D5A3DC43D6E}" srcOrd="0" destOrd="0" presId="urn:microsoft.com/office/officeart/2005/8/layout/hList3"/>
    <dgm:cxn modelId="{34539100-744A-48E6-9A50-82E9FB51A3CA}" srcId="{6A50CFB5-298B-41F1-80BA-9D7FDF9646DD}" destId="{C9C96343-AC7D-4822-AA96-A4066AF6CE64}" srcOrd="0" destOrd="0" parTransId="{EC3D28E0-EB24-451E-A5AC-AAC7C44BF00E}" sibTransId="{74CD4966-0010-4FAE-BBB1-3617C13FACD3}"/>
    <dgm:cxn modelId="{66692AE5-0576-4F2F-87CB-AC9410DEB9F8}" type="presOf" srcId="{AAB70359-4ABB-44EE-9118-556320A7DDAA}" destId="{64F1C47E-DC98-451B-A494-E96BDFF5D4EB}" srcOrd="0" destOrd="0" presId="urn:microsoft.com/office/officeart/2005/8/layout/hList3"/>
    <dgm:cxn modelId="{CB9FD6D8-D007-422B-B903-3A89B5E290FC}" srcId="{C9C96343-AC7D-4822-AA96-A4066AF6CE64}" destId="{8E65F5D3-7A69-43DE-9007-5038DB31946D}" srcOrd="2" destOrd="0" parTransId="{3820FA68-355F-4C71-8522-4F09BF485AE3}" sibTransId="{2A0F511D-80CF-4A94-9B37-FF997077A6F6}"/>
    <dgm:cxn modelId="{F4636B81-5080-43D7-97F3-92AFA73405A4}" type="presOf" srcId="{8E65F5D3-7A69-43DE-9007-5038DB31946D}" destId="{03170A9D-0A63-46F2-8D94-9ED3FE249EFF}" srcOrd="0" destOrd="0" presId="urn:microsoft.com/office/officeart/2005/8/layout/hList3"/>
    <dgm:cxn modelId="{A820DAB0-8B47-44E3-9ED1-71F4F9E79B2B}" srcId="{C9C96343-AC7D-4822-AA96-A4066AF6CE64}" destId="{AF5ADBC7-D9F6-4CA3-88A9-8BB98509FC8F}" srcOrd="0" destOrd="0" parTransId="{0E6B1E88-A8D1-4AF6-8BA2-139FD4272157}" sibTransId="{81CD1BE7-6986-4F1E-AAAA-7BF0BC15D264}"/>
    <dgm:cxn modelId="{28B17FBF-35D4-4BC9-BA97-72937808CDC6}" type="presParOf" srcId="{8839684C-E011-451A-9E36-E4120779B17C}" destId="{AF49AA59-F7B9-49A7-8528-4D5A3DC43D6E}" srcOrd="0" destOrd="0" presId="urn:microsoft.com/office/officeart/2005/8/layout/hList3"/>
    <dgm:cxn modelId="{20432571-30D3-40E2-8A0F-900488918CBE}" type="presParOf" srcId="{8839684C-E011-451A-9E36-E4120779B17C}" destId="{43A2893B-E2C6-440C-88DE-613DC0B74F91}" srcOrd="1" destOrd="0" presId="urn:microsoft.com/office/officeart/2005/8/layout/hList3"/>
    <dgm:cxn modelId="{65744B5B-ADA4-4549-A5BC-453E61FFD991}" type="presParOf" srcId="{43A2893B-E2C6-440C-88DE-613DC0B74F91}" destId="{CE65B083-E16C-418B-8B9A-A9B0DAE3A85B}" srcOrd="0" destOrd="0" presId="urn:microsoft.com/office/officeart/2005/8/layout/hList3"/>
    <dgm:cxn modelId="{805EAAE4-BE06-4DBE-8F24-E98008C55509}" type="presParOf" srcId="{43A2893B-E2C6-440C-88DE-613DC0B74F91}" destId="{64F1C47E-DC98-451B-A494-E96BDFF5D4EB}" srcOrd="1" destOrd="0" presId="urn:microsoft.com/office/officeart/2005/8/layout/hList3"/>
    <dgm:cxn modelId="{039419D3-2722-4F07-BF7A-6BAD992F8829}" type="presParOf" srcId="{43A2893B-E2C6-440C-88DE-613DC0B74F91}" destId="{03170A9D-0A63-46F2-8D94-9ED3FE249EFF}" srcOrd="2" destOrd="0" presId="urn:microsoft.com/office/officeart/2005/8/layout/hList3"/>
    <dgm:cxn modelId="{B6BC8A09-0C47-4AC3-B186-1D0271C8D44D}" type="presParOf" srcId="{8839684C-E011-451A-9E36-E4120779B17C}" destId="{7BCF1594-0C20-436F-8BE9-04AD010C3620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A50CFB5-298B-41F1-80BA-9D7FDF9646DD}" type="doc">
      <dgm:prSet loTypeId="urn:microsoft.com/office/officeart/2005/8/layout/hList3" loCatId="list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9C96343-AC7D-4822-AA96-A4066AF6CE64}">
      <dgm:prSet phldrT="[Text]" custT="1"/>
      <dgm:spPr/>
      <dgm:t>
        <a:bodyPr/>
        <a:lstStyle/>
        <a:p>
          <a:r>
            <a:rPr lang="en-US" sz="1050" b="1" dirty="0" smtClean="0"/>
            <a:t>Parent Thread</a:t>
          </a:r>
        </a:p>
        <a:p>
          <a:endParaRPr lang="en-US" sz="1000" b="1" dirty="0"/>
        </a:p>
      </dgm:t>
    </dgm:pt>
    <dgm:pt modelId="{EC3D28E0-EB24-451E-A5AC-AAC7C44BF00E}" type="parTrans" cxnId="{34539100-744A-48E6-9A50-82E9FB51A3CA}">
      <dgm:prSet/>
      <dgm:spPr/>
      <dgm:t>
        <a:bodyPr/>
        <a:lstStyle/>
        <a:p>
          <a:endParaRPr lang="en-US"/>
        </a:p>
      </dgm:t>
    </dgm:pt>
    <dgm:pt modelId="{74CD4966-0010-4FAE-BBB1-3617C13FACD3}" type="sibTrans" cxnId="{34539100-744A-48E6-9A50-82E9FB51A3CA}">
      <dgm:prSet/>
      <dgm:spPr/>
      <dgm:t>
        <a:bodyPr/>
        <a:lstStyle/>
        <a:p>
          <a:endParaRPr lang="en-US"/>
        </a:p>
      </dgm:t>
    </dgm:pt>
    <dgm:pt modelId="{AF5ADBC7-D9F6-4CA3-88A9-8BB98509FC8F}">
      <dgm:prSet phldrT="[Text]" custT="1"/>
      <dgm:spPr/>
      <dgm:t>
        <a:bodyPr/>
        <a:lstStyle/>
        <a:p>
          <a:r>
            <a:rPr lang="en-US" sz="800" b="1" dirty="0" smtClean="0"/>
            <a:t>Thread </a:t>
          </a:r>
          <a:endParaRPr lang="en-US" sz="800" b="1" dirty="0"/>
        </a:p>
      </dgm:t>
    </dgm:pt>
    <dgm:pt modelId="{0E6B1E88-A8D1-4AF6-8BA2-139FD4272157}" type="parTrans" cxnId="{A820DAB0-8B47-44E3-9ED1-71F4F9E79B2B}">
      <dgm:prSet/>
      <dgm:spPr/>
      <dgm:t>
        <a:bodyPr/>
        <a:lstStyle/>
        <a:p>
          <a:endParaRPr lang="en-US"/>
        </a:p>
      </dgm:t>
    </dgm:pt>
    <dgm:pt modelId="{81CD1BE7-6986-4F1E-AAAA-7BF0BC15D264}" type="sibTrans" cxnId="{A820DAB0-8B47-44E3-9ED1-71F4F9E79B2B}">
      <dgm:prSet/>
      <dgm:spPr/>
      <dgm:t>
        <a:bodyPr/>
        <a:lstStyle/>
        <a:p>
          <a:endParaRPr lang="en-US"/>
        </a:p>
      </dgm:t>
    </dgm:pt>
    <dgm:pt modelId="{AAB70359-4ABB-44EE-9118-556320A7DDAA}">
      <dgm:prSet phldrT="[Text]" custT="1"/>
      <dgm:spPr/>
      <dgm:t>
        <a:bodyPr/>
        <a:lstStyle/>
        <a:p>
          <a:r>
            <a:rPr lang="en-US" sz="800" b="1" dirty="0" smtClean="0"/>
            <a:t>Thread </a:t>
          </a:r>
          <a:endParaRPr lang="en-US" sz="800" b="1" dirty="0"/>
        </a:p>
      </dgm:t>
    </dgm:pt>
    <dgm:pt modelId="{4AAEA163-7190-43D6-B9FE-AC0C677EB541}" type="parTrans" cxnId="{249D7520-6C72-4BD2-96AA-B6BA64EA2F99}">
      <dgm:prSet/>
      <dgm:spPr/>
      <dgm:t>
        <a:bodyPr/>
        <a:lstStyle/>
        <a:p>
          <a:endParaRPr lang="en-US"/>
        </a:p>
      </dgm:t>
    </dgm:pt>
    <dgm:pt modelId="{4C975709-4505-456E-BA4F-C710E6C534C2}" type="sibTrans" cxnId="{249D7520-6C72-4BD2-96AA-B6BA64EA2F99}">
      <dgm:prSet/>
      <dgm:spPr/>
      <dgm:t>
        <a:bodyPr/>
        <a:lstStyle/>
        <a:p>
          <a:endParaRPr lang="en-US"/>
        </a:p>
      </dgm:t>
    </dgm:pt>
    <dgm:pt modelId="{8E65F5D3-7A69-43DE-9007-5038DB31946D}">
      <dgm:prSet phldrT="[Text]" custT="1"/>
      <dgm:spPr/>
      <dgm:t>
        <a:bodyPr/>
        <a:lstStyle/>
        <a:p>
          <a:r>
            <a:rPr lang="en-US" sz="800" b="1" dirty="0" smtClean="0"/>
            <a:t>Thread </a:t>
          </a:r>
          <a:endParaRPr lang="en-US" sz="900" b="1" dirty="0"/>
        </a:p>
      </dgm:t>
    </dgm:pt>
    <dgm:pt modelId="{3820FA68-355F-4C71-8522-4F09BF485AE3}" type="parTrans" cxnId="{CB9FD6D8-D007-422B-B903-3A89B5E290FC}">
      <dgm:prSet/>
      <dgm:spPr/>
      <dgm:t>
        <a:bodyPr/>
        <a:lstStyle/>
        <a:p>
          <a:endParaRPr lang="en-US"/>
        </a:p>
      </dgm:t>
    </dgm:pt>
    <dgm:pt modelId="{2A0F511D-80CF-4A94-9B37-FF997077A6F6}" type="sibTrans" cxnId="{CB9FD6D8-D007-422B-B903-3A89B5E290FC}">
      <dgm:prSet/>
      <dgm:spPr/>
      <dgm:t>
        <a:bodyPr/>
        <a:lstStyle/>
        <a:p>
          <a:endParaRPr lang="en-US"/>
        </a:p>
      </dgm:t>
    </dgm:pt>
    <dgm:pt modelId="{8839684C-E011-451A-9E36-E4120779B17C}" type="pres">
      <dgm:prSet presAssocID="{6A50CFB5-298B-41F1-80BA-9D7FDF9646DD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F49AA59-F7B9-49A7-8528-4D5A3DC43D6E}" type="pres">
      <dgm:prSet presAssocID="{C9C96343-AC7D-4822-AA96-A4066AF6CE64}" presName="roof" presStyleLbl="dkBgShp" presStyleIdx="0" presStyleCnt="2"/>
      <dgm:spPr/>
      <dgm:t>
        <a:bodyPr/>
        <a:lstStyle/>
        <a:p>
          <a:endParaRPr lang="en-US"/>
        </a:p>
      </dgm:t>
    </dgm:pt>
    <dgm:pt modelId="{43A2893B-E2C6-440C-88DE-613DC0B74F91}" type="pres">
      <dgm:prSet presAssocID="{C9C96343-AC7D-4822-AA96-A4066AF6CE64}" presName="pillars" presStyleCnt="0"/>
      <dgm:spPr/>
    </dgm:pt>
    <dgm:pt modelId="{CE65B083-E16C-418B-8B9A-A9B0DAE3A85B}" type="pres">
      <dgm:prSet presAssocID="{C9C96343-AC7D-4822-AA96-A4066AF6CE64}" presName="pillar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F1C47E-DC98-451B-A494-E96BDFF5D4EB}" type="pres">
      <dgm:prSet presAssocID="{AAB70359-4ABB-44EE-9118-556320A7DDAA}" presName="pillar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170A9D-0A63-46F2-8D94-9ED3FE249EFF}" type="pres">
      <dgm:prSet presAssocID="{8E65F5D3-7A69-43DE-9007-5038DB31946D}" presName="pillar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BCF1594-0C20-436F-8BE9-04AD010C3620}" type="pres">
      <dgm:prSet presAssocID="{C9C96343-AC7D-4822-AA96-A4066AF6CE64}" presName="base" presStyleLbl="dkBgShp" presStyleIdx="1" presStyleCnt="2"/>
      <dgm:spPr/>
    </dgm:pt>
  </dgm:ptLst>
  <dgm:cxnLst>
    <dgm:cxn modelId="{B8E6E59C-4ABC-4966-A8FF-645237880371}" type="presOf" srcId="{8E65F5D3-7A69-43DE-9007-5038DB31946D}" destId="{03170A9D-0A63-46F2-8D94-9ED3FE249EFF}" srcOrd="0" destOrd="0" presId="urn:microsoft.com/office/officeart/2005/8/layout/hList3"/>
    <dgm:cxn modelId="{249D7520-6C72-4BD2-96AA-B6BA64EA2F99}" srcId="{C9C96343-AC7D-4822-AA96-A4066AF6CE64}" destId="{AAB70359-4ABB-44EE-9118-556320A7DDAA}" srcOrd="1" destOrd="0" parTransId="{4AAEA163-7190-43D6-B9FE-AC0C677EB541}" sibTransId="{4C975709-4505-456E-BA4F-C710E6C534C2}"/>
    <dgm:cxn modelId="{0B2307A2-7B9C-4F30-890C-1C01288C8E8D}" type="presOf" srcId="{AAB70359-4ABB-44EE-9118-556320A7DDAA}" destId="{64F1C47E-DC98-451B-A494-E96BDFF5D4EB}" srcOrd="0" destOrd="0" presId="urn:microsoft.com/office/officeart/2005/8/layout/hList3"/>
    <dgm:cxn modelId="{34539100-744A-48E6-9A50-82E9FB51A3CA}" srcId="{6A50CFB5-298B-41F1-80BA-9D7FDF9646DD}" destId="{C9C96343-AC7D-4822-AA96-A4066AF6CE64}" srcOrd="0" destOrd="0" parTransId="{EC3D28E0-EB24-451E-A5AC-AAC7C44BF00E}" sibTransId="{74CD4966-0010-4FAE-BBB1-3617C13FACD3}"/>
    <dgm:cxn modelId="{EDA20787-A7B9-4734-A8E1-71449E71417C}" type="presOf" srcId="{AF5ADBC7-D9F6-4CA3-88A9-8BB98509FC8F}" destId="{CE65B083-E16C-418B-8B9A-A9B0DAE3A85B}" srcOrd="0" destOrd="0" presId="urn:microsoft.com/office/officeart/2005/8/layout/hList3"/>
    <dgm:cxn modelId="{CB9FD6D8-D007-422B-B903-3A89B5E290FC}" srcId="{C9C96343-AC7D-4822-AA96-A4066AF6CE64}" destId="{8E65F5D3-7A69-43DE-9007-5038DB31946D}" srcOrd="2" destOrd="0" parTransId="{3820FA68-355F-4C71-8522-4F09BF485AE3}" sibTransId="{2A0F511D-80CF-4A94-9B37-FF997077A6F6}"/>
    <dgm:cxn modelId="{574BB88A-E85F-47B8-B239-9E207EBDC3CF}" type="presOf" srcId="{6A50CFB5-298B-41F1-80BA-9D7FDF9646DD}" destId="{8839684C-E011-451A-9E36-E4120779B17C}" srcOrd="0" destOrd="0" presId="urn:microsoft.com/office/officeart/2005/8/layout/hList3"/>
    <dgm:cxn modelId="{A820DAB0-8B47-44E3-9ED1-71F4F9E79B2B}" srcId="{C9C96343-AC7D-4822-AA96-A4066AF6CE64}" destId="{AF5ADBC7-D9F6-4CA3-88A9-8BB98509FC8F}" srcOrd="0" destOrd="0" parTransId="{0E6B1E88-A8D1-4AF6-8BA2-139FD4272157}" sibTransId="{81CD1BE7-6986-4F1E-AAAA-7BF0BC15D264}"/>
    <dgm:cxn modelId="{AD24F196-7D87-4AC9-A83E-E20EB395FC4D}" type="presOf" srcId="{C9C96343-AC7D-4822-AA96-A4066AF6CE64}" destId="{AF49AA59-F7B9-49A7-8528-4D5A3DC43D6E}" srcOrd="0" destOrd="0" presId="urn:microsoft.com/office/officeart/2005/8/layout/hList3"/>
    <dgm:cxn modelId="{7D3D9B59-313D-46EB-80E2-316FB891D5F4}" type="presParOf" srcId="{8839684C-E011-451A-9E36-E4120779B17C}" destId="{AF49AA59-F7B9-49A7-8528-4D5A3DC43D6E}" srcOrd="0" destOrd="0" presId="urn:microsoft.com/office/officeart/2005/8/layout/hList3"/>
    <dgm:cxn modelId="{CB37B772-2E85-4264-8955-CFBB7AE5757F}" type="presParOf" srcId="{8839684C-E011-451A-9E36-E4120779B17C}" destId="{43A2893B-E2C6-440C-88DE-613DC0B74F91}" srcOrd="1" destOrd="0" presId="urn:microsoft.com/office/officeart/2005/8/layout/hList3"/>
    <dgm:cxn modelId="{9D4A8423-FE6A-4EDA-85B5-19A76E2A0ABB}" type="presParOf" srcId="{43A2893B-E2C6-440C-88DE-613DC0B74F91}" destId="{CE65B083-E16C-418B-8B9A-A9B0DAE3A85B}" srcOrd="0" destOrd="0" presId="urn:microsoft.com/office/officeart/2005/8/layout/hList3"/>
    <dgm:cxn modelId="{B2C2D71E-446A-4287-9A49-2F9875AA9C17}" type="presParOf" srcId="{43A2893B-E2C6-440C-88DE-613DC0B74F91}" destId="{64F1C47E-DC98-451B-A494-E96BDFF5D4EB}" srcOrd="1" destOrd="0" presId="urn:microsoft.com/office/officeart/2005/8/layout/hList3"/>
    <dgm:cxn modelId="{DE0BE1D6-ED4A-4B63-B363-9BB0526642C6}" type="presParOf" srcId="{43A2893B-E2C6-440C-88DE-613DC0B74F91}" destId="{03170A9D-0A63-46F2-8D94-9ED3FE249EFF}" srcOrd="2" destOrd="0" presId="urn:microsoft.com/office/officeart/2005/8/layout/hList3"/>
    <dgm:cxn modelId="{83FE8229-536A-4867-B45C-166E1F7C37CF}" type="presParOf" srcId="{8839684C-E011-451A-9E36-E4120779B17C}" destId="{7BCF1594-0C20-436F-8BE9-04AD010C3620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C3FC59-DEE0-4176-9E9B-98D5F05E0F6E}">
      <dsp:nvSpPr>
        <dsp:cNvPr id="0" name=""/>
        <dsp:cNvSpPr/>
      </dsp:nvSpPr>
      <dsp:spPr>
        <a:xfrm>
          <a:off x="4174332" y="610037"/>
          <a:ext cx="584121" cy="2779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9441"/>
              </a:lnTo>
              <a:lnTo>
                <a:pt x="584121" y="189441"/>
              </a:lnTo>
              <a:lnTo>
                <a:pt x="584121" y="27798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CF736A-AF12-40EE-BD49-486480FCD511}">
      <dsp:nvSpPr>
        <dsp:cNvPr id="0" name=""/>
        <dsp:cNvSpPr/>
      </dsp:nvSpPr>
      <dsp:spPr>
        <a:xfrm>
          <a:off x="3590210" y="1494982"/>
          <a:ext cx="1168243" cy="2779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9441"/>
              </a:lnTo>
              <a:lnTo>
                <a:pt x="1168243" y="189441"/>
              </a:lnTo>
              <a:lnTo>
                <a:pt x="1168243" y="27798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BDFCCE-978E-4797-A4EB-49AB792DC10F}">
      <dsp:nvSpPr>
        <dsp:cNvPr id="0" name=""/>
        <dsp:cNvSpPr/>
      </dsp:nvSpPr>
      <dsp:spPr>
        <a:xfrm>
          <a:off x="3544490" y="1494982"/>
          <a:ext cx="91440" cy="27798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7798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9BBE9F-705D-4D36-B590-93833830BBC1}">
      <dsp:nvSpPr>
        <dsp:cNvPr id="0" name=""/>
        <dsp:cNvSpPr/>
      </dsp:nvSpPr>
      <dsp:spPr>
        <a:xfrm>
          <a:off x="2376246" y="4149816"/>
          <a:ext cx="91440" cy="27798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7798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8A1B1A-A42F-49ED-A91C-C074DE017100}">
      <dsp:nvSpPr>
        <dsp:cNvPr id="0" name=""/>
        <dsp:cNvSpPr/>
      </dsp:nvSpPr>
      <dsp:spPr>
        <a:xfrm>
          <a:off x="2376246" y="3264871"/>
          <a:ext cx="91440" cy="27798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7798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D28E41-32E8-40EE-9860-17D87A46D489}">
      <dsp:nvSpPr>
        <dsp:cNvPr id="0" name=""/>
        <dsp:cNvSpPr/>
      </dsp:nvSpPr>
      <dsp:spPr>
        <a:xfrm>
          <a:off x="2376246" y="2379927"/>
          <a:ext cx="91440" cy="27798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7798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817B88-0E43-478E-9F38-DF98A8A22E42}">
      <dsp:nvSpPr>
        <dsp:cNvPr id="0" name=""/>
        <dsp:cNvSpPr/>
      </dsp:nvSpPr>
      <dsp:spPr>
        <a:xfrm>
          <a:off x="2421966" y="1494982"/>
          <a:ext cx="1168243" cy="277988"/>
        </a:xfrm>
        <a:custGeom>
          <a:avLst/>
          <a:gdLst/>
          <a:ahLst/>
          <a:cxnLst/>
          <a:rect l="0" t="0" r="0" b="0"/>
          <a:pathLst>
            <a:path>
              <a:moveTo>
                <a:pt x="1168243" y="0"/>
              </a:moveTo>
              <a:lnTo>
                <a:pt x="1168243" y="189441"/>
              </a:lnTo>
              <a:lnTo>
                <a:pt x="0" y="189441"/>
              </a:lnTo>
              <a:lnTo>
                <a:pt x="0" y="27798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A6A18C-FBE5-49D8-B2C4-03BC08EB36F3}">
      <dsp:nvSpPr>
        <dsp:cNvPr id="0" name=""/>
        <dsp:cNvSpPr/>
      </dsp:nvSpPr>
      <dsp:spPr>
        <a:xfrm>
          <a:off x="3590210" y="610037"/>
          <a:ext cx="584121" cy="277988"/>
        </a:xfrm>
        <a:custGeom>
          <a:avLst/>
          <a:gdLst/>
          <a:ahLst/>
          <a:cxnLst/>
          <a:rect l="0" t="0" r="0" b="0"/>
          <a:pathLst>
            <a:path>
              <a:moveTo>
                <a:pt x="584121" y="0"/>
              </a:moveTo>
              <a:lnTo>
                <a:pt x="584121" y="189441"/>
              </a:lnTo>
              <a:lnTo>
                <a:pt x="0" y="189441"/>
              </a:lnTo>
              <a:lnTo>
                <a:pt x="0" y="27798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1B631D-1405-4915-90B3-651EFC7B61C2}">
      <dsp:nvSpPr>
        <dsp:cNvPr id="0" name=""/>
        <dsp:cNvSpPr/>
      </dsp:nvSpPr>
      <dsp:spPr>
        <a:xfrm>
          <a:off x="3696414" y="3082"/>
          <a:ext cx="955835" cy="60695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E8972F5-056A-4084-8DFF-9CB469BBE60E}">
      <dsp:nvSpPr>
        <dsp:cNvPr id="0" name=""/>
        <dsp:cNvSpPr/>
      </dsp:nvSpPr>
      <dsp:spPr>
        <a:xfrm>
          <a:off x="3802618" y="103975"/>
          <a:ext cx="955835" cy="6069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Automation Script</a:t>
          </a:r>
          <a:endParaRPr lang="en-US" sz="1100" b="1" kern="1200" dirty="0"/>
        </a:p>
      </dsp:txBody>
      <dsp:txXfrm>
        <a:off x="3820395" y="121752"/>
        <a:ext cx="920281" cy="571401"/>
      </dsp:txXfrm>
    </dsp:sp>
    <dsp:sp modelId="{BF9BC418-D44B-4B14-B2C5-BC63219C9B84}">
      <dsp:nvSpPr>
        <dsp:cNvPr id="0" name=""/>
        <dsp:cNvSpPr/>
      </dsp:nvSpPr>
      <dsp:spPr>
        <a:xfrm>
          <a:off x="3112292" y="888026"/>
          <a:ext cx="955835" cy="60695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C78E0B6-0DA7-46A8-A652-603D72A27D8A}">
      <dsp:nvSpPr>
        <dsp:cNvPr id="0" name=""/>
        <dsp:cNvSpPr/>
      </dsp:nvSpPr>
      <dsp:spPr>
        <a:xfrm>
          <a:off x="3218496" y="988920"/>
          <a:ext cx="955835" cy="6069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MM</a:t>
          </a:r>
          <a:endParaRPr lang="en-US" sz="1100" b="1" kern="1200" dirty="0"/>
        </a:p>
      </dsp:txBody>
      <dsp:txXfrm>
        <a:off x="3236273" y="1006697"/>
        <a:ext cx="920281" cy="571401"/>
      </dsp:txXfrm>
    </dsp:sp>
    <dsp:sp modelId="{C44BA615-EA9A-4798-B82F-5513D7CB9146}">
      <dsp:nvSpPr>
        <dsp:cNvPr id="0" name=""/>
        <dsp:cNvSpPr/>
      </dsp:nvSpPr>
      <dsp:spPr>
        <a:xfrm>
          <a:off x="1944048" y="1772971"/>
          <a:ext cx="955835" cy="60695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78583F3-F0A8-4342-92C6-ED99099CEE12}">
      <dsp:nvSpPr>
        <dsp:cNvPr id="0" name=""/>
        <dsp:cNvSpPr/>
      </dsp:nvSpPr>
      <dsp:spPr>
        <a:xfrm>
          <a:off x="2050252" y="1873865"/>
          <a:ext cx="955835" cy="6069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UI</a:t>
          </a: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2068029" y="1891642"/>
        <a:ext cx="920281" cy="571401"/>
      </dsp:txXfrm>
    </dsp:sp>
    <dsp:sp modelId="{DAFECBD9-4647-4E92-9EAD-650ABB1DCB8C}">
      <dsp:nvSpPr>
        <dsp:cNvPr id="0" name=""/>
        <dsp:cNvSpPr/>
      </dsp:nvSpPr>
      <dsp:spPr>
        <a:xfrm>
          <a:off x="1944048" y="2657916"/>
          <a:ext cx="955835" cy="60695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2BB4682-5667-49BD-B916-6E7BB6B8C1FB}">
      <dsp:nvSpPr>
        <dsp:cNvPr id="0" name=""/>
        <dsp:cNvSpPr/>
      </dsp:nvSpPr>
      <dsp:spPr>
        <a:xfrm>
          <a:off x="2050252" y="2758809"/>
          <a:ext cx="955835" cy="6069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Test Case 1</a:t>
          </a:r>
          <a:endParaRPr lang="en-US" sz="1050" b="1" kern="1200" dirty="0"/>
        </a:p>
      </dsp:txBody>
      <dsp:txXfrm>
        <a:off x="2068029" y="2776586"/>
        <a:ext cx="920281" cy="571401"/>
      </dsp:txXfrm>
    </dsp:sp>
    <dsp:sp modelId="{2A88790D-8EF1-442C-BE35-FE72557C8DE9}">
      <dsp:nvSpPr>
        <dsp:cNvPr id="0" name=""/>
        <dsp:cNvSpPr/>
      </dsp:nvSpPr>
      <dsp:spPr>
        <a:xfrm>
          <a:off x="1944048" y="3542860"/>
          <a:ext cx="955835" cy="60695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50DA171-5FFF-48E8-B688-0775883163F8}">
      <dsp:nvSpPr>
        <dsp:cNvPr id="0" name=""/>
        <dsp:cNvSpPr/>
      </dsp:nvSpPr>
      <dsp:spPr>
        <a:xfrm>
          <a:off x="2050252" y="3643754"/>
          <a:ext cx="955835" cy="6069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Test Case 2</a:t>
          </a:r>
          <a:endParaRPr lang="en-US" sz="1050" b="1" kern="1200" dirty="0"/>
        </a:p>
      </dsp:txBody>
      <dsp:txXfrm>
        <a:off x="2068029" y="3661531"/>
        <a:ext cx="920281" cy="571401"/>
      </dsp:txXfrm>
    </dsp:sp>
    <dsp:sp modelId="{224019A6-7750-416F-8F2D-03BB2CE7F5E0}">
      <dsp:nvSpPr>
        <dsp:cNvPr id="0" name=""/>
        <dsp:cNvSpPr/>
      </dsp:nvSpPr>
      <dsp:spPr>
        <a:xfrm>
          <a:off x="1944048" y="4427805"/>
          <a:ext cx="955835" cy="60695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1404C66-F3C6-4F0D-8F25-62D785A8A209}">
      <dsp:nvSpPr>
        <dsp:cNvPr id="0" name=""/>
        <dsp:cNvSpPr/>
      </dsp:nvSpPr>
      <dsp:spPr>
        <a:xfrm>
          <a:off x="2050252" y="4528699"/>
          <a:ext cx="955835" cy="6069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Test Case 3</a:t>
          </a:r>
          <a:endParaRPr lang="en-US" sz="1050" b="1" kern="1200" dirty="0"/>
        </a:p>
      </dsp:txBody>
      <dsp:txXfrm>
        <a:off x="2068029" y="4546476"/>
        <a:ext cx="920281" cy="571401"/>
      </dsp:txXfrm>
    </dsp:sp>
    <dsp:sp modelId="{9B35C83C-DC2E-4FD7-8126-800C0E625CE1}">
      <dsp:nvSpPr>
        <dsp:cNvPr id="0" name=""/>
        <dsp:cNvSpPr/>
      </dsp:nvSpPr>
      <dsp:spPr>
        <a:xfrm>
          <a:off x="3112292" y="1772971"/>
          <a:ext cx="955835" cy="60695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F3E3676-EFDF-431F-A175-403CD2A616CB}">
      <dsp:nvSpPr>
        <dsp:cNvPr id="0" name=""/>
        <dsp:cNvSpPr/>
      </dsp:nvSpPr>
      <dsp:spPr>
        <a:xfrm>
          <a:off x="3218496" y="1873865"/>
          <a:ext cx="955835" cy="6069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API</a:t>
          </a:r>
          <a:endParaRPr lang="en-US" sz="1100" b="1" kern="1200" dirty="0"/>
        </a:p>
      </dsp:txBody>
      <dsp:txXfrm>
        <a:off x="3236273" y="1891642"/>
        <a:ext cx="920281" cy="571401"/>
      </dsp:txXfrm>
    </dsp:sp>
    <dsp:sp modelId="{606B1C79-FB29-43CE-8F4A-FFFB1EDCBDBA}">
      <dsp:nvSpPr>
        <dsp:cNvPr id="0" name=""/>
        <dsp:cNvSpPr/>
      </dsp:nvSpPr>
      <dsp:spPr>
        <a:xfrm>
          <a:off x="4280536" y="1772971"/>
          <a:ext cx="955835" cy="60695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C29BC9C-E51F-442B-B970-1FFACE87E1BD}">
      <dsp:nvSpPr>
        <dsp:cNvPr id="0" name=""/>
        <dsp:cNvSpPr/>
      </dsp:nvSpPr>
      <dsp:spPr>
        <a:xfrm>
          <a:off x="4386740" y="1873865"/>
          <a:ext cx="955835" cy="6069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Mainframe</a:t>
          </a:r>
          <a:endParaRPr lang="en-US" sz="1100" b="1" kern="1200" dirty="0"/>
        </a:p>
      </dsp:txBody>
      <dsp:txXfrm>
        <a:off x="4404517" y="1891642"/>
        <a:ext cx="920281" cy="571401"/>
      </dsp:txXfrm>
    </dsp:sp>
    <dsp:sp modelId="{721C7E2B-1E13-473D-A745-CD84C6F13674}">
      <dsp:nvSpPr>
        <dsp:cNvPr id="0" name=""/>
        <dsp:cNvSpPr/>
      </dsp:nvSpPr>
      <dsp:spPr>
        <a:xfrm>
          <a:off x="4280536" y="888026"/>
          <a:ext cx="955835" cy="60695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33A834D-D1FA-47F9-BB71-322801EB6D9D}">
      <dsp:nvSpPr>
        <dsp:cNvPr id="0" name=""/>
        <dsp:cNvSpPr/>
      </dsp:nvSpPr>
      <dsp:spPr>
        <a:xfrm>
          <a:off x="4386740" y="988920"/>
          <a:ext cx="955835" cy="6069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….</a:t>
          </a:r>
          <a:endParaRPr lang="en-US" sz="1100" b="1" kern="1200" dirty="0"/>
        </a:p>
      </dsp:txBody>
      <dsp:txXfrm>
        <a:off x="4404517" y="1006697"/>
        <a:ext cx="920281" cy="57140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49AA59-F7B9-49A7-8528-4D5A3DC43D6E}">
      <dsp:nvSpPr>
        <dsp:cNvPr id="0" name=""/>
        <dsp:cNvSpPr/>
      </dsp:nvSpPr>
      <dsp:spPr>
        <a:xfrm>
          <a:off x="0" y="0"/>
          <a:ext cx="1269186" cy="127053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Parent Thread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/>
        </a:p>
      </dsp:txBody>
      <dsp:txXfrm>
        <a:off x="0" y="0"/>
        <a:ext cx="1269186" cy="127053"/>
      </dsp:txXfrm>
    </dsp:sp>
    <dsp:sp modelId="{CE65B083-E16C-418B-8B9A-A9B0DAE3A85B}">
      <dsp:nvSpPr>
        <dsp:cNvPr id="0" name=""/>
        <dsp:cNvSpPr/>
      </dsp:nvSpPr>
      <dsp:spPr>
        <a:xfrm>
          <a:off x="619" y="127053"/>
          <a:ext cx="422648" cy="2668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Thread </a:t>
          </a:r>
          <a:endParaRPr lang="en-US" sz="800" b="1" kern="1200" dirty="0"/>
        </a:p>
      </dsp:txBody>
      <dsp:txXfrm>
        <a:off x="619" y="127053"/>
        <a:ext cx="422648" cy="266813"/>
      </dsp:txXfrm>
    </dsp:sp>
    <dsp:sp modelId="{64F1C47E-DC98-451B-A494-E96BDFF5D4EB}">
      <dsp:nvSpPr>
        <dsp:cNvPr id="0" name=""/>
        <dsp:cNvSpPr/>
      </dsp:nvSpPr>
      <dsp:spPr>
        <a:xfrm>
          <a:off x="423268" y="127053"/>
          <a:ext cx="422648" cy="2668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Thread </a:t>
          </a:r>
          <a:endParaRPr lang="en-US" sz="800" b="1" kern="1200" dirty="0"/>
        </a:p>
      </dsp:txBody>
      <dsp:txXfrm>
        <a:off x="423268" y="127053"/>
        <a:ext cx="422648" cy="266813"/>
      </dsp:txXfrm>
    </dsp:sp>
    <dsp:sp modelId="{03170A9D-0A63-46F2-8D94-9ED3FE249EFF}">
      <dsp:nvSpPr>
        <dsp:cNvPr id="0" name=""/>
        <dsp:cNvSpPr/>
      </dsp:nvSpPr>
      <dsp:spPr>
        <a:xfrm>
          <a:off x="845917" y="127053"/>
          <a:ext cx="422648" cy="2668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Thread </a:t>
          </a:r>
          <a:endParaRPr lang="en-US" sz="900" b="1" kern="1200" dirty="0"/>
        </a:p>
      </dsp:txBody>
      <dsp:txXfrm>
        <a:off x="845917" y="127053"/>
        <a:ext cx="422648" cy="266813"/>
      </dsp:txXfrm>
    </dsp:sp>
    <dsp:sp modelId="{7BCF1594-0C20-436F-8BE9-04AD010C3620}">
      <dsp:nvSpPr>
        <dsp:cNvPr id="0" name=""/>
        <dsp:cNvSpPr/>
      </dsp:nvSpPr>
      <dsp:spPr>
        <a:xfrm>
          <a:off x="0" y="393867"/>
          <a:ext cx="1269186" cy="2964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B5550E-71DC-4225-949F-F7C6E5AC0B3A}">
      <dsp:nvSpPr>
        <dsp:cNvPr id="0" name=""/>
        <dsp:cNvSpPr/>
      </dsp:nvSpPr>
      <dsp:spPr>
        <a:xfrm>
          <a:off x="1113535" y="85141"/>
          <a:ext cx="1689727" cy="586820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z="-190500" extrusionH="1270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91E2C2-770F-4C7B-BA09-6F60595B7D3D}">
      <dsp:nvSpPr>
        <dsp:cNvPr id="0" name=""/>
        <dsp:cNvSpPr/>
      </dsp:nvSpPr>
      <dsp:spPr>
        <a:xfrm>
          <a:off x="1797285" y="1522064"/>
          <a:ext cx="327466" cy="209578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0ABE64A-F071-4950-8AA1-5B69DD0A0D3D}">
      <dsp:nvSpPr>
        <dsp:cNvPr id="0" name=""/>
        <dsp:cNvSpPr/>
      </dsp:nvSpPr>
      <dsp:spPr>
        <a:xfrm>
          <a:off x="1175099" y="1689727"/>
          <a:ext cx="1571839" cy="3929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Total Time</a:t>
          </a:r>
          <a:endParaRPr lang="en-US" sz="1400" b="1" kern="1200" dirty="0"/>
        </a:p>
      </dsp:txBody>
      <dsp:txXfrm>
        <a:off x="1175099" y="1689727"/>
        <a:ext cx="1571839" cy="392959"/>
      </dsp:txXfrm>
    </dsp:sp>
    <dsp:sp modelId="{3C487CCD-8CCC-4E1F-9230-0346B63B277A}">
      <dsp:nvSpPr>
        <dsp:cNvPr id="0" name=""/>
        <dsp:cNvSpPr/>
      </dsp:nvSpPr>
      <dsp:spPr>
        <a:xfrm>
          <a:off x="1727862" y="717282"/>
          <a:ext cx="589439" cy="58943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0 min</a:t>
          </a:r>
          <a:endParaRPr lang="en-US" sz="1400" kern="1200" dirty="0"/>
        </a:p>
      </dsp:txBody>
      <dsp:txXfrm>
        <a:off x="1814183" y="803603"/>
        <a:ext cx="416797" cy="416797"/>
      </dsp:txXfrm>
    </dsp:sp>
    <dsp:sp modelId="{8A416988-E407-49D8-8FC0-CC7109E86D21}">
      <dsp:nvSpPr>
        <dsp:cNvPr id="0" name=""/>
        <dsp:cNvSpPr/>
      </dsp:nvSpPr>
      <dsp:spPr>
        <a:xfrm>
          <a:off x="1306085" y="275071"/>
          <a:ext cx="589439" cy="58943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0 min</a:t>
          </a:r>
          <a:endParaRPr lang="en-US" sz="1400" kern="1200" dirty="0"/>
        </a:p>
      </dsp:txBody>
      <dsp:txXfrm>
        <a:off x="1392406" y="361392"/>
        <a:ext cx="416797" cy="416797"/>
      </dsp:txXfrm>
    </dsp:sp>
    <dsp:sp modelId="{02234723-7EC8-4D66-ADD7-AFBA9B459492}">
      <dsp:nvSpPr>
        <dsp:cNvPr id="0" name=""/>
        <dsp:cNvSpPr/>
      </dsp:nvSpPr>
      <dsp:spPr>
        <a:xfrm>
          <a:off x="1908624" y="132558"/>
          <a:ext cx="589439" cy="58943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0 min</a:t>
          </a:r>
          <a:endParaRPr lang="en-US" sz="1400" kern="1200" dirty="0"/>
        </a:p>
      </dsp:txBody>
      <dsp:txXfrm>
        <a:off x="1994945" y="218879"/>
        <a:ext cx="416797" cy="416797"/>
      </dsp:txXfrm>
    </dsp:sp>
    <dsp:sp modelId="{8A46C432-E438-42F7-B629-48BD2497EE3E}">
      <dsp:nvSpPr>
        <dsp:cNvPr id="0" name=""/>
        <dsp:cNvSpPr/>
      </dsp:nvSpPr>
      <dsp:spPr>
        <a:xfrm>
          <a:off x="1044112" y="13098"/>
          <a:ext cx="1833812" cy="1467050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C3FC59-DEE0-4176-9E9B-98D5F05E0F6E}">
      <dsp:nvSpPr>
        <dsp:cNvPr id="0" name=""/>
        <dsp:cNvSpPr/>
      </dsp:nvSpPr>
      <dsp:spPr>
        <a:xfrm>
          <a:off x="4083029" y="553026"/>
          <a:ext cx="530837" cy="2526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160"/>
              </a:lnTo>
              <a:lnTo>
                <a:pt x="530837" y="172160"/>
              </a:lnTo>
              <a:lnTo>
                <a:pt x="530837" y="25263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CF736A-AF12-40EE-BD49-486480FCD511}">
      <dsp:nvSpPr>
        <dsp:cNvPr id="0" name=""/>
        <dsp:cNvSpPr/>
      </dsp:nvSpPr>
      <dsp:spPr>
        <a:xfrm>
          <a:off x="3552192" y="1357245"/>
          <a:ext cx="1061675" cy="2526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160"/>
              </a:lnTo>
              <a:lnTo>
                <a:pt x="1061675" y="172160"/>
              </a:lnTo>
              <a:lnTo>
                <a:pt x="1061675" y="25263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BDFCCE-978E-4797-A4EB-49AB792DC10F}">
      <dsp:nvSpPr>
        <dsp:cNvPr id="0" name=""/>
        <dsp:cNvSpPr/>
      </dsp:nvSpPr>
      <dsp:spPr>
        <a:xfrm>
          <a:off x="3506472" y="1357245"/>
          <a:ext cx="91440" cy="25263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63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9BBE9F-705D-4D36-B590-93833830BBC1}">
      <dsp:nvSpPr>
        <dsp:cNvPr id="0" name=""/>
        <dsp:cNvSpPr/>
      </dsp:nvSpPr>
      <dsp:spPr>
        <a:xfrm>
          <a:off x="2444796" y="3769903"/>
          <a:ext cx="91440" cy="25263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63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8A1B1A-A42F-49ED-A91C-C074DE017100}">
      <dsp:nvSpPr>
        <dsp:cNvPr id="0" name=""/>
        <dsp:cNvSpPr/>
      </dsp:nvSpPr>
      <dsp:spPr>
        <a:xfrm>
          <a:off x="2444796" y="2965683"/>
          <a:ext cx="91440" cy="25263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63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D28E41-32E8-40EE-9860-17D87A46D489}">
      <dsp:nvSpPr>
        <dsp:cNvPr id="0" name=""/>
        <dsp:cNvSpPr/>
      </dsp:nvSpPr>
      <dsp:spPr>
        <a:xfrm>
          <a:off x="2444796" y="2161464"/>
          <a:ext cx="91440" cy="25263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263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817B88-0E43-478E-9F38-DF98A8A22E42}">
      <dsp:nvSpPr>
        <dsp:cNvPr id="0" name=""/>
        <dsp:cNvSpPr/>
      </dsp:nvSpPr>
      <dsp:spPr>
        <a:xfrm>
          <a:off x="2490516" y="1357245"/>
          <a:ext cx="1061675" cy="252630"/>
        </a:xfrm>
        <a:custGeom>
          <a:avLst/>
          <a:gdLst/>
          <a:ahLst/>
          <a:cxnLst/>
          <a:rect l="0" t="0" r="0" b="0"/>
          <a:pathLst>
            <a:path>
              <a:moveTo>
                <a:pt x="1061675" y="0"/>
              </a:moveTo>
              <a:lnTo>
                <a:pt x="1061675" y="172160"/>
              </a:lnTo>
              <a:lnTo>
                <a:pt x="0" y="172160"/>
              </a:lnTo>
              <a:lnTo>
                <a:pt x="0" y="25263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A6A18C-FBE5-49D8-B2C4-03BC08EB36F3}">
      <dsp:nvSpPr>
        <dsp:cNvPr id="0" name=""/>
        <dsp:cNvSpPr/>
      </dsp:nvSpPr>
      <dsp:spPr>
        <a:xfrm>
          <a:off x="3552192" y="553026"/>
          <a:ext cx="530837" cy="252630"/>
        </a:xfrm>
        <a:custGeom>
          <a:avLst/>
          <a:gdLst/>
          <a:ahLst/>
          <a:cxnLst/>
          <a:rect l="0" t="0" r="0" b="0"/>
          <a:pathLst>
            <a:path>
              <a:moveTo>
                <a:pt x="530837" y="0"/>
              </a:moveTo>
              <a:lnTo>
                <a:pt x="530837" y="172160"/>
              </a:lnTo>
              <a:lnTo>
                <a:pt x="0" y="172160"/>
              </a:lnTo>
              <a:lnTo>
                <a:pt x="0" y="25263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1B631D-1405-4915-90B3-651EFC7B61C2}">
      <dsp:nvSpPr>
        <dsp:cNvPr id="0" name=""/>
        <dsp:cNvSpPr/>
      </dsp:nvSpPr>
      <dsp:spPr>
        <a:xfrm>
          <a:off x="3648707" y="1437"/>
          <a:ext cx="868643" cy="551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E8972F5-056A-4084-8DFF-9CB469BBE60E}">
      <dsp:nvSpPr>
        <dsp:cNvPr id="0" name=""/>
        <dsp:cNvSpPr/>
      </dsp:nvSpPr>
      <dsp:spPr>
        <a:xfrm>
          <a:off x="3745223" y="93127"/>
          <a:ext cx="868643" cy="551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Automation Script</a:t>
          </a:r>
          <a:endParaRPr lang="en-US" sz="1000" b="1" kern="1200" dirty="0"/>
        </a:p>
      </dsp:txBody>
      <dsp:txXfrm>
        <a:off x="3761378" y="109282"/>
        <a:ext cx="836333" cy="519278"/>
      </dsp:txXfrm>
    </dsp:sp>
    <dsp:sp modelId="{BF9BC418-D44B-4B14-B2C5-BC63219C9B84}">
      <dsp:nvSpPr>
        <dsp:cNvPr id="0" name=""/>
        <dsp:cNvSpPr/>
      </dsp:nvSpPr>
      <dsp:spPr>
        <a:xfrm>
          <a:off x="3117870" y="805656"/>
          <a:ext cx="868643" cy="551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C78E0B6-0DA7-46A8-A652-603D72A27D8A}">
      <dsp:nvSpPr>
        <dsp:cNvPr id="0" name=""/>
        <dsp:cNvSpPr/>
      </dsp:nvSpPr>
      <dsp:spPr>
        <a:xfrm>
          <a:off x="3214386" y="897346"/>
          <a:ext cx="868643" cy="551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MM</a:t>
          </a:r>
          <a:endParaRPr lang="en-US" sz="1000" b="1" kern="1200" dirty="0"/>
        </a:p>
      </dsp:txBody>
      <dsp:txXfrm>
        <a:off x="3230541" y="913501"/>
        <a:ext cx="836333" cy="519278"/>
      </dsp:txXfrm>
    </dsp:sp>
    <dsp:sp modelId="{C44BA615-EA9A-4798-B82F-5513D7CB9146}">
      <dsp:nvSpPr>
        <dsp:cNvPr id="0" name=""/>
        <dsp:cNvSpPr/>
      </dsp:nvSpPr>
      <dsp:spPr>
        <a:xfrm>
          <a:off x="2056194" y="1609875"/>
          <a:ext cx="868643" cy="551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78583F3-F0A8-4342-92C6-ED99099CEE12}">
      <dsp:nvSpPr>
        <dsp:cNvPr id="0" name=""/>
        <dsp:cNvSpPr/>
      </dsp:nvSpPr>
      <dsp:spPr>
        <a:xfrm>
          <a:off x="2152710" y="1701566"/>
          <a:ext cx="868643" cy="551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UI</a:t>
          </a:r>
          <a:r>
            <a:rPr lang="en-US" sz="1000" kern="1200" dirty="0" smtClean="0"/>
            <a:t> </a:t>
          </a:r>
          <a:endParaRPr lang="en-US" sz="1000" kern="1200" dirty="0"/>
        </a:p>
      </dsp:txBody>
      <dsp:txXfrm>
        <a:off x="2168865" y="1717721"/>
        <a:ext cx="836333" cy="519278"/>
      </dsp:txXfrm>
    </dsp:sp>
    <dsp:sp modelId="{DAFECBD9-4647-4E92-9EAD-650ABB1DCB8C}">
      <dsp:nvSpPr>
        <dsp:cNvPr id="0" name=""/>
        <dsp:cNvSpPr/>
      </dsp:nvSpPr>
      <dsp:spPr>
        <a:xfrm>
          <a:off x="2056194" y="2414095"/>
          <a:ext cx="868643" cy="551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2BB4682-5667-49BD-B916-6E7BB6B8C1FB}">
      <dsp:nvSpPr>
        <dsp:cNvPr id="0" name=""/>
        <dsp:cNvSpPr/>
      </dsp:nvSpPr>
      <dsp:spPr>
        <a:xfrm>
          <a:off x="2152710" y="2505785"/>
          <a:ext cx="868643" cy="551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Test Case 1</a:t>
          </a:r>
          <a:endParaRPr lang="en-US" sz="1050" b="1" kern="1200" dirty="0"/>
        </a:p>
      </dsp:txBody>
      <dsp:txXfrm>
        <a:off x="2168865" y="2521940"/>
        <a:ext cx="836333" cy="519278"/>
      </dsp:txXfrm>
    </dsp:sp>
    <dsp:sp modelId="{2A88790D-8EF1-442C-BE35-FE72557C8DE9}">
      <dsp:nvSpPr>
        <dsp:cNvPr id="0" name=""/>
        <dsp:cNvSpPr/>
      </dsp:nvSpPr>
      <dsp:spPr>
        <a:xfrm>
          <a:off x="2056194" y="3218314"/>
          <a:ext cx="868643" cy="551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50DA171-5FFF-48E8-B688-0775883163F8}">
      <dsp:nvSpPr>
        <dsp:cNvPr id="0" name=""/>
        <dsp:cNvSpPr/>
      </dsp:nvSpPr>
      <dsp:spPr>
        <a:xfrm>
          <a:off x="2152710" y="3310004"/>
          <a:ext cx="868643" cy="551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Test Case 2</a:t>
          </a:r>
          <a:endParaRPr lang="en-US" sz="1050" b="1" kern="1200" dirty="0"/>
        </a:p>
      </dsp:txBody>
      <dsp:txXfrm>
        <a:off x="2168865" y="3326159"/>
        <a:ext cx="836333" cy="519278"/>
      </dsp:txXfrm>
    </dsp:sp>
    <dsp:sp modelId="{224019A6-7750-416F-8F2D-03BB2CE7F5E0}">
      <dsp:nvSpPr>
        <dsp:cNvPr id="0" name=""/>
        <dsp:cNvSpPr/>
      </dsp:nvSpPr>
      <dsp:spPr>
        <a:xfrm>
          <a:off x="2056194" y="4022533"/>
          <a:ext cx="868643" cy="551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1404C66-F3C6-4F0D-8F25-62D785A8A209}">
      <dsp:nvSpPr>
        <dsp:cNvPr id="0" name=""/>
        <dsp:cNvSpPr/>
      </dsp:nvSpPr>
      <dsp:spPr>
        <a:xfrm>
          <a:off x="2152710" y="4114223"/>
          <a:ext cx="868643" cy="551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Test Case 3</a:t>
          </a:r>
          <a:endParaRPr lang="en-US" sz="1050" b="1" kern="1200" dirty="0"/>
        </a:p>
      </dsp:txBody>
      <dsp:txXfrm>
        <a:off x="2168865" y="4130378"/>
        <a:ext cx="836333" cy="519278"/>
      </dsp:txXfrm>
    </dsp:sp>
    <dsp:sp modelId="{9B35C83C-DC2E-4FD7-8126-800C0E625CE1}">
      <dsp:nvSpPr>
        <dsp:cNvPr id="0" name=""/>
        <dsp:cNvSpPr/>
      </dsp:nvSpPr>
      <dsp:spPr>
        <a:xfrm>
          <a:off x="3117870" y="1609875"/>
          <a:ext cx="868643" cy="551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F3E3676-EFDF-431F-A175-403CD2A616CB}">
      <dsp:nvSpPr>
        <dsp:cNvPr id="0" name=""/>
        <dsp:cNvSpPr/>
      </dsp:nvSpPr>
      <dsp:spPr>
        <a:xfrm>
          <a:off x="3214386" y="1701566"/>
          <a:ext cx="868643" cy="551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API</a:t>
          </a:r>
          <a:endParaRPr lang="en-US" sz="1000" b="1" kern="1200" dirty="0"/>
        </a:p>
      </dsp:txBody>
      <dsp:txXfrm>
        <a:off x="3230541" y="1717721"/>
        <a:ext cx="836333" cy="519278"/>
      </dsp:txXfrm>
    </dsp:sp>
    <dsp:sp modelId="{606B1C79-FB29-43CE-8F4A-FFFB1EDCBDBA}">
      <dsp:nvSpPr>
        <dsp:cNvPr id="0" name=""/>
        <dsp:cNvSpPr/>
      </dsp:nvSpPr>
      <dsp:spPr>
        <a:xfrm>
          <a:off x="4179545" y="1609875"/>
          <a:ext cx="868643" cy="551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C29BC9C-E51F-442B-B970-1FFACE87E1BD}">
      <dsp:nvSpPr>
        <dsp:cNvPr id="0" name=""/>
        <dsp:cNvSpPr/>
      </dsp:nvSpPr>
      <dsp:spPr>
        <a:xfrm>
          <a:off x="4276061" y="1701566"/>
          <a:ext cx="868643" cy="551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Mainframe</a:t>
          </a:r>
          <a:endParaRPr lang="en-US" sz="1000" b="1" kern="1200" dirty="0"/>
        </a:p>
      </dsp:txBody>
      <dsp:txXfrm>
        <a:off x="4292216" y="1717721"/>
        <a:ext cx="836333" cy="519278"/>
      </dsp:txXfrm>
    </dsp:sp>
    <dsp:sp modelId="{721C7E2B-1E13-473D-A745-CD84C6F13674}">
      <dsp:nvSpPr>
        <dsp:cNvPr id="0" name=""/>
        <dsp:cNvSpPr/>
      </dsp:nvSpPr>
      <dsp:spPr>
        <a:xfrm>
          <a:off x="4179545" y="805656"/>
          <a:ext cx="868643" cy="5515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33A834D-D1FA-47F9-BB71-322801EB6D9D}">
      <dsp:nvSpPr>
        <dsp:cNvPr id="0" name=""/>
        <dsp:cNvSpPr/>
      </dsp:nvSpPr>
      <dsp:spPr>
        <a:xfrm>
          <a:off x="4276061" y="897346"/>
          <a:ext cx="868643" cy="55158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….</a:t>
          </a:r>
          <a:endParaRPr lang="en-US" sz="1000" b="1" kern="1200" dirty="0"/>
        </a:p>
      </dsp:txBody>
      <dsp:txXfrm>
        <a:off x="4292216" y="913501"/>
        <a:ext cx="836333" cy="519278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8F5AC5-D26A-47EC-BA0D-363996916922}">
      <dsp:nvSpPr>
        <dsp:cNvPr id="0" name=""/>
        <dsp:cNvSpPr/>
      </dsp:nvSpPr>
      <dsp:spPr>
        <a:xfrm rot="5400000">
          <a:off x="-86408" y="87107"/>
          <a:ext cx="576055" cy="40323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1</a:t>
          </a:r>
          <a:endParaRPr lang="en-US" sz="1800" kern="1200" dirty="0"/>
        </a:p>
      </dsp:txBody>
      <dsp:txXfrm rot="-5400000">
        <a:off x="1" y="202317"/>
        <a:ext cx="403238" cy="172817"/>
      </dsp:txXfrm>
    </dsp:sp>
    <dsp:sp modelId="{97992F69-2477-41B0-8CB1-10AF492E479F}">
      <dsp:nvSpPr>
        <dsp:cNvPr id="0" name=""/>
        <dsp:cNvSpPr/>
      </dsp:nvSpPr>
      <dsp:spPr>
        <a:xfrm rot="5400000">
          <a:off x="3115593" y="-2711655"/>
          <a:ext cx="374632" cy="5799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kern="1200" dirty="0" smtClean="0"/>
            <a:t>90% </a:t>
          </a:r>
          <a:r>
            <a:rPr lang="en-US" sz="1800" b="0" kern="1200" dirty="0" smtClean="0"/>
            <a:t>Execution </a:t>
          </a:r>
          <a:r>
            <a:rPr lang="en-US" sz="1800" b="0" kern="1200" dirty="0" smtClean="0"/>
            <a:t>time reduction</a:t>
          </a:r>
          <a:endParaRPr lang="en-US" sz="1800" b="0" kern="1200" dirty="0"/>
        </a:p>
      </dsp:txBody>
      <dsp:txXfrm rot="-5400000">
        <a:off x="403238" y="18988"/>
        <a:ext cx="5781055" cy="338056"/>
      </dsp:txXfrm>
    </dsp:sp>
    <dsp:sp modelId="{2F741373-F877-42B3-8EA9-C7CA2AFBE0A7}">
      <dsp:nvSpPr>
        <dsp:cNvPr id="0" name=""/>
        <dsp:cNvSpPr/>
      </dsp:nvSpPr>
      <dsp:spPr>
        <a:xfrm rot="5400000">
          <a:off x="-86408" y="411524"/>
          <a:ext cx="576055" cy="40323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</a:t>
          </a:r>
          <a:endParaRPr lang="en-US" sz="1800" kern="1200" dirty="0"/>
        </a:p>
      </dsp:txBody>
      <dsp:txXfrm rot="-5400000">
        <a:off x="1" y="526734"/>
        <a:ext cx="403238" cy="172817"/>
      </dsp:txXfrm>
    </dsp:sp>
    <dsp:sp modelId="{A6F6AE43-FDD0-4DBB-8C74-1A4038A9F8DF}">
      <dsp:nvSpPr>
        <dsp:cNvPr id="0" name=""/>
        <dsp:cNvSpPr/>
      </dsp:nvSpPr>
      <dsp:spPr>
        <a:xfrm rot="5400000">
          <a:off x="3115692" y="-2360176"/>
          <a:ext cx="374435" cy="5799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Applicable on UI, API &amp; Mainframe Testing</a:t>
          </a:r>
          <a:endParaRPr lang="en-US" sz="1800" kern="1200" dirty="0"/>
        </a:p>
      </dsp:txBody>
      <dsp:txXfrm rot="-5400000">
        <a:off x="403238" y="370556"/>
        <a:ext cx="5781065" cy="337879"/>
      </dsp:txXfrm>
    </dsp:sp>
    <dsp:sp modelId="{A463FD2C-FC80-4631-91EE-C7D0AAED45C9}">
      <dsp:nvSpPr>
        <dsp:cNvPr id="0" name=""/>
        <dsp:cNvSpPr/>
      </dsp:nvSpPr>
      <dsp:spPr>
        <a:xfrm rot="5400000">
          <a:off x="-86408" y="735940"/>
          <a:ext cx="576055" cy="40323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3</a:t>
          </a:r>
          <a:endParaRPr lang="en-US" sz="1800" kern="1200" dirty="0"/>
        </a:p>
      </dsp:txBody>
      <dsp:txXfrm rot="-5400000">
        <a:off x="1" y="851150"/>
        <a:ext cx="403238" cy="172817"/>
      </dsp:txXfrm>
    </dsp:sp>
    <dsp:sp modelId="{3C372053-07E3-4F26-B462-3AA5B053217E}">
      <dsp:nvSpPr>
        <dsp:cNvPr id="0" name=""/>
        <dsp:cNvSpPr/>
      </dsp:nvSpPr>
      <dsp:spPr>
        <a:xfrm rot="5400000">
          <a:off x="3115692" y="-2006857"/>
          <a:ext cx="374435" cy="57993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Easily Integrate with </a:t>
          </a:r>
          <a:r>
            <a:rPr lang="en-US" sz="1800" kern="1200" dirty="0" err="1" smtClean="0"/>
            <a:t>RestAssured</a:t>
          </a:r>
          <a:r>
            <a:rPr lang="en-US" sz="1800" kern="1200" dirty="0" smtClean="0"/>
            <a:t> API framework</a:t>
          </a:r>
          <a:endParaRPr lang="en-US" sz="1800" kern="1200" dirty="0"/>
        </a:p>
      </dsp:txBody>
      <dsp:txXfrm rot="-5400000">
        <a:off x="403238" y="723875"/>
        <a:ext cx="5781065" cy="337879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8F9379-71EE-42EB-957B-8EA2FB696605}">
      <dsp:nvSpPr>
        <dsp:cNvPr id="0" name=""/>
        <dsp:cNvSpPr/>
      </dsp:nvSpPr>
      <dsp:spPr>
        <a:xfrm>
          <a:off x="0" y="100530"/>
          <a:ext cx="3686175" cy="28723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Execution Metrics</a:t>
          </a:r>
          <a:endParaRPr lang="en-US" sz="1800" b="1" kern="1200" dirty="0"/>
        </a:p>
      </dsp:txBody>
      <dsp:txXfrm>
        <a:off x="8413" y="108943"/>
        <a:ext cx="3669349" cy="270405"/>
      </dsp:txXfrm>
    </dsp:sp>
    <dsp:sp modelId="{795DAB1C-0536-4BD2-AB0D-18AA5B341F2A}">
      <dsp:nvSpPr>
        <dsp:cNvPr id="0" name=""/>
        <dsp:cNvSpPr/>
      </dsp:nvSpPr>
      <dsp:spPr>
        <a:xfrm>
          <a:off x="0" y="439463"/>
          <a:ext cx="287231" cy="287231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AEA922F-84C3-4484-9066-279611015E49}">
      <dsp:nvSpPr>
        <dsp:cNvPr id="0" name=""/>
        <dsp:cNvSpPr/>
      </dsp:nvSpPr>
      <dsp:spPr>
        <a:xfrm>
          <a:off x="304465" y="439463"/>
          <a:ext cx="3381710" cy="287231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Total Test cases : </a:t>
          </a:r>
          <a:r>
            <a:rPr lang="en-US" sz="1200" b="1" kern="1200" dirty="0" smtClean="0"/>
            <a:t>~1100</a:t>
          </a:r>
          <a:endParaRPr lang="en-US" sz="1200" b="1" kern="1200" dirty="0"/>
        </a:p>
      </dsp:txBody>
      <dsp:txXfrm>
        <a:off x="318489" y="453487"/>
        <a:ext cx="3353662" cy="259183"/>
      </dsp:txXfrm>
    </dsp:sp>
    <dsp:sp modelId="{C457F737-2C16-4CB6-A1F7-52FE85A7C93D}">
      <dsp:nvSpPr>
        <dsp:cNvPr id="0" name=""/>
        <dsp:cNvSpPr/>
      </dsp:nvSpPr>
      <dsp:spPr>
        <a:xfrm>
          <a:off x="0" y="761162"/>
          <a:ext cx="287231" cy="287231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11D945B-3148-4ADE-98AC-FF55C9D728E6}">
      <dsp:nvSpPr>
        <dsp:cNvPr id="0" name=""/>
        <dsp:cNvSpPr/>
      </dsp:nvSpPr>
      <dsp:spPr>
        <a:xfrm>
          <a:off x="304465" y="761162"/>
          <a:ext cx="3381710" cy="287231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Total Iteration : ~8000</a:t>
          </a:r>
          <a:endParaRPr lang="en-US" sz="1200" b="1" kern="1200" dirty="0"/>
        </a:p>
      </dsp:txBody>
      <dsp:txXfrm>
        <a:off x="318489" y="775186"/>
        <a:ext cx="3353662" cy="259183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8F9379-71EE-42EB-957B-8EA2FB696605}">
      <dsp:nvSpPr>
        <dsp:cNvPr id="0" name=""/>
        <dsp:cNvSpPr/>
      </dsp:nvSpPr>
      <dsp:spPr>
        <a:xfrm>
          <a:off x="0" y="103346"/>
          <a:ext cx="2781300" cy="29527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Automation</a:t>
          </a:r>
          <a:endParaRPr lang="en-US" sz="1800" b="1" kern="1200" dirty="0"/>
        </a:p>
      </dsp:txBody>
      <dsp:txXfrm>
        <a:off x="8648" y="111994"/>
        <a:ext cx="2764004" cy="277978"/>
      </dsp:txXfrm>
    </dsp:sp>
    <dsp:sp modelId="{320FEDFA-5575-4576-9F3C-7F0B382A3764}">
      <dsp:nvSpPr>
        <dsp:cNvPr id="0" name=""/>
        <dsp:cNvSpPr/>
      </dsp:nvSpPr>
      <dsp:spPr>
        <a:xfrm>
          <a:off x="0" y="451770"/>
          <a:ext cx="295274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04C73-5376-412F-81CA-4558188DD901}">
      <dsp:nvSpPr>
        <dsp:cNvPr id="0" name=""/>
        <dsp:cNvSpPr/>
      </dsp:nvSpPr>
      <dsp:spPr>
        <a:xfrm>
          <a:off x="312991" y="451770"/>
          <a:ext cx="2468308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Execution </a:t>
          </a:r>
          <a:r>
            <a:rPr lang="en-US" sz="1200" b="1" kern="1200" dirty="0" smtClean="0"/>
            <a:t>Time : </a:t>
          </a:r>
          <a:r>
            <a:rPr lang="en-US" sz="1200" b="1" kern="1200" dirty="0" smtClean="0"/>
            <a:t>~30 </a:t>
          </a:r>
          <a:r>
            <a:rPr lang="en-US" sz="1200" b="1" kern="1200" dirty="0" smtClean="0"/>
            <a:t>days</a:t>
          </a:r>
          <a:endParaRPr lang="en-US" sz="1200" b="1" kern="1200" dirty="0"/>
        </a:p>
      </dsp:txBody>
      <dsp:txXfrm>
        <a:off x="327408" y="466187"/>
        <a:ext cx="2439474" cy="266440"/>
      </dsp:txXfrm>
    </dsp:sp>
    <dsp:sp modelId="{838711EB-9DC8-4ABA-84EC-2618354B553F}">
      <dsp:nvSpPr>
        <dsp:cNvPr id="0" name=""/>
        <dsp:cNvSpPr/>
      </dsp:nvSpPr>
      <dsp:spPr>
        <a:xfrm>
          <a:off x="0" y="782478"/>
          <a:ext cx="295274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5A838E5-8280-43B6-BDBB-507002475E16}">
      <dsp:nvSpPr>
        <dsp:cNvPr id="0" name=""/>
        <dsp:cNvSpPr/>
      </dsp:nvSpPr>
      <dsp:spPr>
        <a:xfrm>
          <a:off x="312991" y="782478"/>
          <a:ext cx="2468308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Number </a:t>
          </a:r>
          <a:r>
            <a:rPr lang="en-US" sz="1200" b="1" kern="1200" dirty="0" smtClean="0"/>
            <a:t>of Employees : </a:t>
          </a:r>
          <a:r>
            <a:rPr lang="en-US" sz="1200" b="1" kern="1200" dirty="0" smtClean="0"/>
            <a:t>6</a:t>
          </a:r>
          <a:endParaRPr lang="en-US" sz="1200" b="1" kern="1200" dirty="0"/>
        </a:p>
      </dsp:txBody>
      <dsp:txXfrm>
        <a:off x="327408" y="796895"/>
        <a:ext cx="2439474" cy="266440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8F9379-71EE-42EB-957B-8EA2FB696605}">
      <dsp:nvSpPr>
        <dsp:cNvPr id="0" name=""/>
        <dsp:cNvSpPr/>
      </dsp:nvSpPr>
      <dsp:spPr>
        <a:xfrm>
          <a:off x="0" y="103346"/>
          <a:ext cx="2781300" cy="29527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TC Parallel</a:t>
          </a:r>
          <a:endParaRPr lang="en-US" sz="1800" b="1" kern="1200" dirty="0"/>
        </a:p>
      </dsp:txBody>
      <dsp:txXfrm>
        <a:off x="8648" y="111994"/>
        <a:ext cx="2764004" cy="277978"/>
      </dsp:txXfrm>
    </dsp:sp>
    <dsp:sp modelId="{320FEDFA-5575-4576-9F3C-7F0B382A3764}">
      <dsp:nvSpPr>
        <dsp:cNvPr id="0" name=""/>
        <dsp:cNvSpPr/>
      </dsp:nvSpPr>
      <dsp:spPr>
        <a:xfrm>
          <a:off x="0" y="451770"/>
          <a:ext cx="295274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04C73-5376-412F-81CA-4558188DD901}">
      <dsp:nvSpPr>
        <dsp:cNvPr id="0" name=""/>
        <dsp:cNvSpPr/>
      </dsp:nvSpPr>
      <dsp:spPr>
        <a:xfrm>
          <a:off x="312991" y="451770"/>
          <a:ext cx="2468308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Execution </a:t>
          </a:r>
          <a:r>
            <a:rPr lang="en-US" sz="1200" b="1" kern="1200" dirty="0" smtClean="0"/>
            <a:t>Time : </a:t>
          </a:r>
          <a:r>
            <a:rPr lang="en-US" sz="1200" b="1" kern="1200" dirty="0" smtClean="0"/>
            <a:t>~15 </a:t>
          </a:r>
          <a:r>
            <a:rPr lang="en-US" sz="1200" b="1" kern="1200" dirty="0" smtClean="0"/>
            <a:t>days</a:t>
          </a:r>
          <a:endParaRPr lang="en-US" sz="1200" b="1" kern="1200" dirty="0"/>
        </a:p>
      </dsp:txBody>
      <dsp:txXfrm>
        <a:off x="327408" y="466187"/>
        <a:ext cx="2439474" cy="266440"/>
      </dsp:txXfrm>
    </dsp:sp>
    <dsp:sp modelId="{838711EB-9DC8-4ABA-84EC-2618354B553F}">
      <dsp:nvSpPr>
        <dsp:cNvPr id="0" name=""/>
        <dsp:cNvSpPr/>
      </dsp:nvSpPr>
      <dsp:spPr>
        <a:xfrm>
          <a:off x="0" y="782478"/>
          <a:ext cx="295274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5A838E5-8280-43B6-BDBB-507002475E16}">
      <dsp:nvSpPr>
        <dsp:cNvPr id="0" name=""/>
        <dsp:cNvSpPr/>
      </dsp:nvSpPr>
      <dsp:spPr>
        <a:xfrm>
          <a:off x="312991" y="782478"/>
          <a:ext cx="2468308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Number </a:t>
          </a:r>
          <a:r>
            <a:rPr lang="en-US" sz="1200" b="1" kern="1200" dirty="0" smtClean="0"/>
            <a:t>of Employees : </a:t>
          </a:r>
          <a:r>
            <a:rPr lang="en-US" sz="1200" b="1" kern="1200" dirty="0" smtClean="0"/>
            <a:t>4</a:t>
          </a:r>
          <a:endParaRPr lang="en-US" sz="1200" b="1" kern="1200" dirty="0"/>
        </a:p>
      </dsp:txBody>
      <dsp:txXfrm>
        <a:off x="327408" y="796895"/>
        <a:ext cx="2439474" cy="266440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8F9379-71EE-42EB-957B-8EA2FB696605}">
      <dsp:nvSpPr>
        <dsp:cNvPr id="0" name=""/>
        <dsp:cNvSpPr/>
      </dsp:nvSpPr>
      <dsp:spPr>
        <a:xfrm>
          <a:off x="0" y="103346"/>
          <a:ext cx="2781300" cy="29527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Iteration Parallel</a:t>
          </a:r>
          <a:endParaRPr lang="en-US" sz="1800" b="1" kern="1200" dirty="0"/>
        </a:p>
      </dsp:txBody>
      <dsp:txXfrm>
        <a:off x="8648" y="111994"/>
        <a:ext cx="2764004" cy="277978"/>
      </dsp:txXfrm>
    </dsp:sp>
    <dsp:sp modelId="{320FEDFA-5575-4576-9F3C-7F0B382A3764}">
      <dsp:nvSpPr>
        <dsp:cNvPr id="0" name=""/>
        <dsp:cNvSpPr/>
      </dsp:nvSpPr>
      <dsp:spPr>
        <a:xfrm>
          <a:off x="0" y="451770"/>
          <a:ext cx="295274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04C73-5376-412F-81CA-4558188DD901}">
      <dsp:nvSpPr>
        <dsp:cNvPr id="0" name=""/>
        <dsp:cNvSpPr/>
      </dsp:nvSpPr>
      <dsp:spPr>
        <a:xfrm>
          <a:off x="312991" y="451770"/>
          <a:ext cx="2468308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Execution </a:t>
          </a:r>
          <a:r>
            <a:rPr lang="en-US" sz="1200" b="1" kern="1200" dirty="0" smtClean="0"/>
            <a:t>Time : </a:t>
          </a:r>
          <a:r>
            <a:rPr lang="en-US" sz="1200" b="1" kern="1200" dirty="0" smtClean="0"/>
            <a:t>~2 days</a:t>
          </a:r>
          <a:endParaRPr lang="en-US" sz="1200" b="1" kern="1200" dirty="0"/>
        </a:p>
      </dsp:txBody>
      <dsp:txXfrm>
        <a:off x="327408" y="466187"/>
        <a:ext cx="2439474" cy="266440"/>
      </dsp:txXfrm>
    </dsp:sp>
    <dsp:sp modelId="{838711EB-9DC8-4ABA-84EC-2618354B553F}">
      <dsp:nvSpPr>
        <dsp:cNvPr id="0" name=""/>
        <dsp:cNvSpPr/>
      </dsp:nvSpPr>
      <dsp:spPr>
        <a:xfrm>
          <a:off x="0" y="782478"/>
          <a:ext cx="295274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5A838E5-8280-43B6-BDBB-507002475E16}">
      <dsp:nvSpPr>
        <dsp:cNvPr id="0" name=""/>
        <dsp:cNvSpPr/>
      </dsp:nvSpPr>
      <dsp:spPr>
        <a:xfrm>
          <a:off x="312991" y="782478"/>
          <a:ext cx="2468308" cy="295274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Number </a:t>
          </a:r>
          <a:r>
            <a:rPr lang="en-US" sz="1200" b="1" kern="1200" dirty="0" smtClean="0"/>
            <a:t>of Employees : </a:t>
          </a:r>
          <a:r>
            <a:rPr lang="en-US" sz="1200" b="1" kern="1200" dirty="0" smtClean="0"/>
            <a:t>1</a:t>
          </a:r>
          <a:endParaRPr lang="en-US" sz="1200" b="1" kern="1200" dirty="0"/>
        </a:p>
      </dsp:txBody>
      <dsp:txXfrm>
        <a:off x="327408" y="796895"/>
        <a:ext cx="2439474" cy="2664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F49616-8AE2-4582-ADC5-2E0DF2210543}">
      <dsp:nvSpPr>
        <dsp:cNvPr id="0" name=""/>
        <dsp:cNvSpPr/>
      </dsp:nvSpPr>
      <dsp:spPr>
        <a:xfrm rot="16200000">
          <a:off x="-1030493" y="1598550"/>
          <a:ext cx="2422017" cy="287349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53427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Sequential Execution</a:t>
          </a:r>
          <a:endParaRPr lang="en-US" sz="1600" b="1" kern="1200" dirty="0"/>
        </a:p>
      </dsp:txBody>
      <dsp:txXfrm>
        <a:off x="-1030493" y="1598550"/>
        <a:ext cx="2422017" cy="287349"/>
      </dsp:txXfrm>
    </dsp:sp>
    <dsp:sp modelId="{A1E0CA5B-EB15-4706-8B88-6C1320DF8A16}">
      <dsp:nvSpPr>
        <dsp:cNvPr id="0" name=""/>
        <dsp:cNvSpPr/>
      </dsp:nvSpPr>
      <dsp:spPr>
        <a:xfrm>
          <a:off x="324190" y="531217"/>
          <a:ext cx="1431307" cy="2422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CDDCA21-46E5-479E-BA6C-6BD57D27042C}">
      <dsp:nvSpPr>
        <dsp:cNvPr id="0" name=""/>
        <dsp:cNvSpPr/>
      </dsp:nvSpPr>
      <dsp:spPr>
        <a:xfrm>
          <a:off x="36840" y="151915"/>
          <a:ext cx="574699" cy="574699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51BF8A3-35E2-43DA-94F4-4DF0AA218CDE}">
      <dsp:nvSpPr>
        <dsp:cNvPr id="0" name=""/>
        <dsp:cNvSpPr/>
      </dsp:nvSpPr>
      <dsp:spPr>
        <a:xfrm rot="16200000">
          <a:off x="1060377" y="1598550"/>
          <a:ext cx="2422017" cy="287349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53427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Sequential Execution</a:t>
          </a:r>
          <a:endParaRPr lang="en-US" sz="1600" b="1" kern="1200" dirty="0"/>
        </a:p>
      </dsp:txBody>
      <dsp:txXfrm>
        <a:off x="1060377" y="1598550"/>
        <a:ext cx="2422017" cy="287349"/>
      </dsp:txXfrm>
    </dsp:sp>
    <dsp:sp modelId="{4D3FFD46-7C39-4122-9928-452034EDFBAD}">
      <dsp:nvSpPr>
        <dsp:cNvPr id="0" name=""/>
        <dsp:cNvSpPr/>
      </dsp:nvSpPr>
      <dsp:spPr>
        <a:xfrm>
          <a:off x="2415061" y="531217"/>
          <a:ext cx="1431307" cy="2422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253427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•"/>
          </a:pPr>
          <a:endParaRPr lang="en-US" sz="1600" kern="1200" dirty="0"/>
        </a:p>
      </dsp:txBody>
      <dsp:txXfrm>
        <a:off x="2415061" y="531217"/>
        <a:ext cx="1431307" cy="2422017"/>
      </dsp:txXfrm>
    </dsp:sp>
    <dsp:sp modelId="{A195BAC8-0E36-4C90-B3E5-A6F77209376C}">
      <dsp:nvSpPr>
        <dsp:cNvPr id="0" name=""/>
        <dsp:cNvSpPr/>
      </dsp:nvSpPr>
      <dsp:spPr>
        <a:xfrm>
          <a:off x="2127711" y="151915"/>
          <a:ext cx="574699" cy="574699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88D6DEF-9F4B-4FE9-A3A4-617B58B91940}">
      <dsp:nvSpPr>
        <dsp:cNvPr id="0" name=""/>
        <dsp:cNvSpPr/>
      </dsp:nvSpPr>
      <dsp:spPr>
        <a:xfrm rot="16200000">
          <a:off x="3151248" y="1598550"/>
          <a:ext cx="2422017" cy="287349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53427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Sequential Execution</a:t>
          </a:r>
          <a:endParaRPr lang="en-US" sz="1600" b="1" kern="1200" dirty="0"/>
        </a:p>
      </dsp:txBody>
      <dsp:txXfrm>
        <a:off x="3151248" y="1598550"/>
        <a:ext cx="2422017" cy="287349"/>
      </dsp:txXfrm>
    </dsp:sp>
    <dsp:sp modelId="{3486DD22-4045-4902-AAB4-FC9FFB3F9B7C}">
      <dsp:nvSpPr>
        <dsp:cNvPr id="0" name=""/>
        <dsp:cNvSpPr/>
      </dsp:nvSpPr>
      <dsp:spPr>
        <a:xfrm>
          <a:off x="4505931" y="531217"/>
          <a:ext cx="1431307" cy="2422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253427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•"/>
          </a:pPr>
          <a:endParaRPr lang="en-US" sz="1600" kern="1200" dirty="0"/>
        </a:p>
      </dsp:txBody>
      <dsp:txXfrm>
        <a:off x="4505931" y="531217"/>
        <a:ext cx="1431307" cy="2422017"/>
      </dsp:txXfrm>
    </dsp:sp>
    <dsp:sp modelId="{37E0A131-5810-4CCA-BDFA-603B5AF908F0}">
      <dsp:nvSpPr>
        <dsp:cNvPr id="0" name=""/>
        <dsp:cNvSpPr/>
      </dsp:nvSpPr>
      <dsp:spPr>
        <a:xfrm>
          <a:off x="4218581" y="151915"/>
          <a:ext cx="574699" cy="574699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E016A4-0C11-419B-ABB6-A49957BADAB5}">
      <dsp:nvSpPr>
        <dsp:cNvPr id="0" name=""/>
        <dsp:cNvSpPr/>
      </dsp:nvSpPr>
      <dsp:spPr>
        <a:xfrm>
          <a:off x="558890" y="0"/>
          <a:ext cx="862014" cy="862102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A0AA5DF-390C-492F-A543-43C9DCB8ED98}">
      <dsp:nvSpPr>
        <dsp:cNvPr id="0" name=""/>
        <dsp:cNvSpPr/>
      </dsp:nvSpPr>
      <dsp:spPr>
        <a:xfrm>
          <a:off x="749209" y="312057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1</a:t>
          </a:r>
          <a:endParaRPr lang="en-US" sz="900" b="1" kern="1200" dirty="0">
            <a:solidFill>
              <a:schemeClr val="accent3"/>
            </a:solidFill>
          </a:endParaRPr>
        </a:p>
      </dsp:txBody>
      <dsp:txXfrm>
        <a:off x="749209" y="312057"/>
        <a:ext cx="481052" cy="240501"/>
      </dsp:txXfrm>
    </dsp:sp>
    <dsp:sp modelId="{A9F6735B-12A3-45D0-A6BB-BB09A09E0DC3}">
      <dsp:nvSpPr>
        <dsp:cNvPr id="0" name=""/>
        <dsp:cNvSpPr/>
      </dsp:nvSpPr>
      <dsp:spPr>
        <a:xfrm>
          <a:off x="319415" y="495405"/>
          <a:ext cx="862014" cy="862102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D198289-0FC6-4E10-B473-10CE1FFDA6BC}">
      <dsp:nvSpPr>
        <dsp:cNvPr id="0" name=""/>
        <dsp:cNvSpPr/>
      </dsp:nvSpPr>
      <dsp:spPr>
        <a:xfrm>
          <a:off x="508763" y="808378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2</a:t>
          </a:r>
          <a:endParaRPr lang="en-US" sz="900" kern="1200" dirty="0">
            <a:solidFill>
              <a:schemeClr val="accent3"/>
            </a:solidFill>
          </a:endParaRPr>
        </a:p>
      </dsp:txBody>
      <dsp:txXfrm>
        <a:off x="508763" y="808378"/>
        <a:ext cx="481052" cy="240501"/>
      </dsp:txXfrm>
    </dsp:sp>
    <dsp:sp modelId="{1A40FF5B-8F4B-44EC-937A-E3C2F0D8B802}">
      <dsp:nvSpPr>
        <dsp:cNvPr id="0" name=""/>
        <dsp:cNvSpPr/>
      </dsp:nvSpPr>
      <dsp:spPr>
        <a:xfrm>
          <a:off x="558890" y="992640"/>
          <a:ext cx="862014" cy="862102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C32D880-EDA2-4591-A13D-220E15431D7A}">
      <dsp:nvSpPr>
        <dsp:cNvPr id="0" name=""/>
        <dsp:cNvSpPr/>
      </dsp:nvSpPr>
      <dsp:spPr>
        <a:xfrm>
          <a:off x="749209" y="1304698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3</a:t>
          </a:r>
          <a:endParaRPr lang="en-US" sz="900" kern="1200" dirty="0">
            <a:solidFill>
              <a:schemeClr val="accent3"/>
            </a:solidFill>
          </a:endParaRPr>
        </a:p>
      </dsp:txBody>
      <dsp:txXfrm>
        <a:off x="749209" y="1304698"/>
        <a:ext cx="481052" cy="240501"/>
      </dsp:txXfrm>
    </dsp:sp>
    <dsp:sp modelId="{044BC376-A853-4EF2-97A8-49CBA3EBD329}">
      <dsp:nvSpPr>
        <dsp:cNvPr id="0" name=""/>
        <dsp:cNvSpPr/>
      </dsp:nvSpPr>
      <dsp:spPr>
        <a:xfrm>
          <a:off x="380860" y="1545199"/>
          <a:ext cx="740578" cy="740937"/>
        </a:xfrm>
        <a:prstGeom prst="blockArc">
          <a:avLst>
            <a:gd name="adj1" fmla="val 0"/>
            <a:gd name="adj2" fmla="val 18900000"/>
            <a:gd name="adj3" fmla="val 1274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BB00A70-A212-4FB6-9D1B-5D2C4D1847FC}">
      <dsp:nvSpPr>
        <dsp:cNvPr id="0" name=""/>
        <dsp:cNvSpPr/>
      </dsp:nvSpPr>
      <dsp:spPr>
        <a:xfrm>
          <a:off x="508763" y="1801018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4</a:t>
          </a:r>
          <a:endParaRPr lang="en-US" sz="900" b="1" kern="1200" dirty="0">
            <a:solidFill>
              <a:schemeClr val="accent3"/>
            </a:solidFill>
          </a:endParaRPr>
        </a:p>
      </dsp:txBody>
      <dsp:txXfrm>
        <a:off x="508763" y="1801018"/>
        <a:ext cx="481052" cy="24050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E016A4-0C11-419B-ABB6-A49957BADAB5}">
      <dsp:nvSpPr>
        <dsp:cNvPr id="0" name=""/>
        <dsp:cNvSpPr/>
      </dsp:nvSpPr>
      <dsp:spPr>
        <a:xfrm>
          <a:off x="558890" y="0"/>
          <a:ext cx="862014" cy="862102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A0AA5DF-390C-492F-A543-43C9DCB8ED98}">
      <dsp:nvSpPr>
        <dsp:cNvPr id="0" name=""/>
        <dsp:cNvSpPr/>
      </dsp:nvSpPr>
      <dsp:spPr>
        <a:xfrm>
          <a:off x="749209" y="312057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1</a:t>
          </a:r>
          <a:endParaRPr lang="en-US" sz="900" b="1" kern="1200" dirty="0">
            <a:solidFill>
              <a:schemeClr val="accent3"/>
            </a:solidFill>
          </a:endParaRPr>
        </a:p>
      </dsp:txBody>
      <dsp:txXfrm>
        <a:off x="749209" y="312057"/>
        <a:ext cx="481052" cy="240501"/>
      </dsp:txXfrm>
    </dsp:sp>
    <dsp:sp modelId="{A9F6735B-12A3-45D0-A6BB-BB09A09E0DC3}">
      <dsp:nvSpPr>
        <dsp:cNvPr id="0" name=""/>
        <dsp:cNvSpPr/>
      </dsp:nvSpPr>
      <dsp:spPr>
        <a:xfrm>
          <a:off x="319415" y="495405"/>
          <a:ext cx="862014" cy="862102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D198289-0FC6-4E10-B473-10CE1FFDA6BC}">
      <dsp:nvSpPr>
        <dsp:cNvPr id="0" name=""/>
        <dsp:cNvSpPr/>
      </dsp:nvSpPr>
      <dsp:spPr>
        <a:xfrm>
          <a:off x="508763" y="808378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2</a:t>
          </a:r>
          <a:endParaRPr lang="en-US" sz="900" kern="1200" dirty="0">
            <a:solidFill>
              <a:schemeClr val="accent3"/>
            </a:solidFill>
          </a:endParaRPr>
        </a:p>
      </dsp:txBody>
      <dsp:txXfrm>
        <a:off x="508763" y="808378"/>
        <a:ext cx="481052" cy="240501"/>
      </dsp:txXfrm>
    </dsp:sp>
    <dsp:sp modelId="{1A40FF5B-8F4B-44EC-937A-E3C2F0D8B802}">
      <dsp:nvSpPr>
        <dsp:cNvPr id="0" name=""/>
        <dsp:cNvSpPr/>
      </dsp:nvSpPr>
      <dsp:spPr>
        <a:xfrm>
          <a:off x="558890" y="992640"/>
          <a:ext cx="862014" cy="862102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C32D880-EDA2-4591-A13D-220E15431D7A}">
      <dsp:nvSpPr>
        <dsp:cNvPr id="0" name=""/>
        <dsp:cNvSpPr/>
      </dsp:nvSpPr>
      <dsp:spPr>
        <a:xfrm>
          <a:off x="749209" y="1304698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3</a:t>
          </a:r>
          <a:endParaRPr lang="en-US" sz="900" kern="1200" dirty="0">
            <a:solidFill>
              <a:schemeClr val="accent3"/>
            </a:solidFill>
          </a:endParaRPr>
        </a:p>
      </dsp:txBody>
      <dsp:txXfrm>
        <a:off x="749209" y="1304698"/>
        <a:ext cx="481052" cy="240501"/>
      </dsp:txXfrm>
    </dsp:sp>
    <dsp:sp modelId="{044BC376-A853-4EF2-97A8-49CBA3EBD329}">
      <dsp:nvSpPr>
        <dsp:cNvPr id="0" name=""/>
        <dsp:cNvSpPr/>
      </dsp:nvSpPr>
      <dsp:spPr>
        <a:xfrm>
          <a:off x="380860" y="1545199"/>
          <a:ext cx="740578" cy="740937"/>
        </a:xfrm>
        <a:prstGeom prst="blockArc">
          <a:avLst>
            <a:gd name="adj1" fmla="val 0"/>
            <a:gd name="adj2" fmla="val 18900000"/>
            <a:gd name="adj3" fmla="val 1274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BB00A70-A212-4FB6-9D1B-5D2C4D1847FC}">
      <dsp:nvSpPr>
        <dsp:cNvPr id="0" name=""/>
        <dsp:cNvSpPr/>
      </dsp:nvSpPr>
      <dsp:spPr>
        <a:xfrm>
          <a:off x="508763" y="1801018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4</a:t>
          </a:r>
          <a:endParaRPr lang="en-US" sz="900" b="1" kern="1200" dirty="0">
            <a:solidFill>
              <a:schemeClr val="accent3"/>
            </a:solidFill>
          </a:endParaRPr>
        </a:p>
      </dsp:txBody>
      <dsp:txXfrm>
        <a:off x="508763" y="1801018"/>
        <a:ext cx="481052" cy="24050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E016A4-0C11-419B-ABB6-A49957BADAB5}">
      <dsp:nvSpPr>
        <dsp:cNvPr id="0" name=""/>
        <dsp:cNvSpPr/>
      </dsp:nvSpPr>
      <dsp:spPr>
        <a:xfrm>
          <a:off x="558890" y="0"/>
          <a:ext cx="862014" cy="862102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A0AA5DF-390C-492F-A543-43C9DCB8ED98}">
      <dsp:nvSpPr>
        <dsp:cNvPr id="0" name=""/>
        <dsp:cNvSpPr/>
      </dsp:nvSpPr>
      <dsp:spPr>
        <a:xfrm>
          <a:off x="749209" y="312057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1</a:t>
          </a:r>
          <a:endParaRPr lang="en-US" sz="800" b="1" kern="1200" dirty="0">
            <a:solidFill>
              <a:schemeClr val="accent3"/>
            </a:solidFill>
          </a:endParaRPr>
        </a:p>
      </dsp:txBody>
      <dsp:txXfrm>
        <a:off x="749209" y="312057"/>
        <a:ext cx="481052" cy="240501"/>
      </dsp:txXfrm>
    </dsp:sp>
    <dsp:sp modelId="{A9F6735B-12A3-45D0-A6BB-BB09A09E0DC3}">
      <dsp:nvSpPr>
        <dsp:cNvPr id="0" name=""/>
        <dsp:cNvSpPr/>
      </dsp:nvSpPr>
      <dsp:spPr>
        <a:xfrm>
          <a:off x="319415" y="495405"/>
          <a:ext cx="862014" cy="862102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D198289-0FC6-4E10-B473-10CE1FFDA6BC}">
      <dsp:nvSpPr>
        <dsp:cNvPr id="0" name=""/>
        <dsp:cNvSpPr/>
      </dsp:nvSpPr>
      <dsp:spPr>
        <a:xfrm>
          <a:off x="508763" y="808378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2</a:t>
          </a:r>
          <a:endParaRPr lang="en-US" sz="800" kern="1200" dirty="0">
            <a:solidFill>
              <a:schemeClr val="accent3"/>
            </a:solidFill>
          </a:endParaRPr>
        </a:p>
      </dsp:txBody>
      <dsp:txXfrm>
        <a:off x="508763" y="808378"/>
        <a:ext cx="481052" cy="240501"/>
      </dsp:txXfrm>
    </dsp:sp>
    <dsp:sp modelId="{1A40FF5B-8F4B-44EC-937A-E3C2F0D8B802}">
      <dsp:nvSpPr>
        <dsp:cNvPr id="0" name=""/>
        <dsp:cNvSpPr/>
      </dsp:nvSpPr>
      <dsp:spPr>
        <a:xfrm>
          <a:off x="558890" y="992640"/>
          <a:ext cx="862014" cy="862102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C32D880-EDA2-4591-A13D-220E15431D7A}">
      <dsp:nvSpPr>
        <dsp:cNvPr id="0" name=""/>
        <dsp:cNvSpPr/>
      </dsp:nvSpPr>
      <dsp:spPr>
        <a:xfrm>
          <a:off x="749209" y="1304698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3</a:t>
          </a:r>
          <a:endParaRPr lang="en-US" sz="800" kern="1200" dirty="0">
            <a:solidFill>
              <a:schemeClr val="accent3"/>
            </a:solidFill>
          </a:endParaRPr>
        </a:p>
      </dsp:txBody>
      <dsp:txXfrm>
        <a:off x="749209" y="1304698"/>
        <a:ext cx="481052" cy="240501"/>
      </dsp:txXfrm>
    </dsp:sp>
    <dsp:sp modelId="{044BC376-A853-4EF2-97A8-49CBA3EBD329}">
      <dsp:nvSpPr>
        <dsp:cNvPr id="0" name=""/>
        <dsp:cNvSpPr/>
      </dsp:nvSpPr>
      <dsp:spPr>
        <a:xfrm>
          <a:off x="380860" y="1545199"/>
          <a:ext cx="740578" cy="740937"/>
        </a:xfrm>
        <a:prstGeom prst="blockArc">
          <a:avLst>
            <a:gd name="adj1" fmla="val 0"/>
            <a:gd name="adj2" fmla="val 18900000"/>
            <a:gd name="adj3" fmla="val 1274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BB00A70-A212-4FB6-9D1B-5D2C4D1847FC}">
      <dsp:nvSpPr>
        <dsp:cNvPr id="0" name=""/>
        <dsp:cNvSpPr/>
      </dsp:nvSpPr>
      <dsp:spPr>
        <a:xfrm>
          <a:off x="508763" y="1801018"/>
          <a:ext cx="481052" cy="240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accent3"/>
              </a:solidFill>
            </a:rPr>
            <a:t>Iteration 4</a:t>
          </a:r>
          <a:endParaRPr lang="en-US" sz="800" b="1" kern="1200" dirty="0">
            <a:solidFill>
              <a:schemeClr val="accent3"/>
            </a:solidFill>
          </a:endParaRPr>
        </a:p>
      </dsp:txBody>
      <dsp:txXfrm>
        <a:off x="508763" y="1801018"/>
        <a:ext cx="481052" cy="24050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C67EA0-7441-43E9-B5FA-A69DBEA4EBBC}">
      <dsp:nvSpPr>
        <dsp:cNvPr id="0" name=""/>
        <dsp:cNvSpPr/>
      </dsp:nvSpPr>
      <dsp:spPr>
        <a:xfrm>
          <a:off x="1257530" y="379"/>
          <a:ext cx="380483" cy="38048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10 Min</a:t>
          </a:r>
          <a:endParaRPr lang="en-US" sz="900" b="1" kern="1200" dirty="0"/>
        </a:p>
      </dsp:txBody>
      <dsp:txXfrm>
        <a:off x="1313250" y="56099"/>
        <a:ext cx="269043" cy="269043"/>
      </dsp:txXfrm>
    </dsp:sp>
    <dsp:sp modelId="{0C4D7AF3-135F-4AE0-BAD7-2D7E2C8B0CE9}">
      <dsp:nvSpPr>
        <dsp:cNvPr id="0" name=""/>
        <dsp:cNvSpPr/>
      </dsp:nvSpPr>
      <dsp:spPr>
        <a:xfrm>
          <a:off x="1314317" y="411758"/>
          <a:ext cx="220680" cy="220680"/>
        </a:xfrm>
        <a:prstGeom prst="mathPlus">
          <a:avLst/>
        </a:prstGeom>
        <a:solidFill>
          <a:schemeClr val="accent4">
            <a:lumMod val="65000"/>
            <a:lumOff val="3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343568" y="496146"/>
        <a:ext cx="162178" cy="51904"/>
      </dsp:txXfrm>
    </dsp:sp>
    <dsp:sp modelId="{2ACCCFEC-245D-4BAC-812E-22507C86FB5A}">
      <dsp:nvSpPr>
        <dsp:cNvPr id="0" name=""/>
        <dsp:cNvSpPr/>
      </dsp:nvSpPr>
      <dsp:spPr>
        <a:xfrm>
          <a:off x="1234416" y="663334"/>
          <a:ext cx="380483" cy="38048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10 Min</a:t>
          </a:r>
          <a:endParaRPr lang="en-US" sz="900" b="1" kern="1200" dirty="0"/>
        </a:p>
      </dsp:txBody>
      <dsp:txXfrm>
        <a:off x="1290136" y="719054"/>
        <a:ext cx="269043" cy="269043"/>
      </dsp:txXfrm>
    </dsp:sp>
    <dsp:sp modelId="{D6808BDE-1F6C-4BDE-BFD8-2866C50DFCDD}">
      <dsp:nvSpPr>
        <dsp:cNvPr id="0" name=""/>
        <dsp:cNvSpPr/>
      </dsp:nvSpPr>
      <dsp:spPr>
        <a:xfrm>
          <a:off x="1314317" y="1074713"/>
          <a:ext cx="220680" cy="220680"/>
        </a:xfrm>
        <a:prstGeom prst="mathPlus">
          <a:avLst/>
        </a:prstGeom>
        <a:solidFill>
          <a:schemeClr val="accent4">
            <a:lumMod val="65000"/>
            <a:lumOff val="3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343568" y="1159101"/>
        <a:ext cx="162178" cy="51904"/>
      </dsp:txXfrm>
    </dsp:sp>
    <dsp:sp modelId="{4A811F99-7CAB-42C7-B59B-E061A3765BD8}">
      <dsp:nvSpPr>
        <dsp:cNvPr id="0" name=""/>
        <dsp:cNvSpPr/>
      </dsp:nvSpPr>
      <dsp:spPr>
        <a:xfrm>
          <a:off x="1234416" y="1326289"/>
          <a:ext cx="380483" cy="38048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10 Min</a:t>
          </a:r>
          <a:endParaRPr lang="en-US" sz="900" kern="1200" dirty="0"/>
        </a:p>
      </dsp:txBody>
      <dsp:txXfrm>
        <a:off x="1290136" y="1382009"/>
        <a:ext cx="269043" cy="269043"/>
      </dsp:txXfrm>
    </dsp:sp>
    <dsp:sp modelId="{60EDDC4E-EEDF-4124-A055-B23AC0DFF056}">
      <dsp:nvSpPr>
        <dsp:cNvPr id="0" name=""/>
        <dsp:cNvSpPr/>
      </dsp:nvSpPr>
      <dsp:spPr>
        <a:xfrm>
          <a:off x="1314317" y="1737667"/>
          <a:ext cx="220680" cy="220680"/>
        </a:xfrm>
        <a:prstGeom prst="mathPlus">
          <a:avLst/>
        </a:prstGeom>
        <a:solidFill>
          <a:schemeClr val="accent4">
            <a:lumMod val="65000"/>
            <a:lumOff val="3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343568" y="1822055"/>
        <a:ext cx="162178" cy="51904"/>
      </dsp:txXfrm>
    </dsp:sp>
    <dsp:sp modelId="{9597C488-7E97-4E0C-BD87-D6308AC5C014}">
      <dsp:nvSpPr>
        <dsp:cNvPr id="0" name=""/>
        <dsp:cNvSpPr/>
      </dsp:nvSpPr>
      <dsp:spPr>
        <a:xfrm>
          <a:off x="1234416" y="1989243"/>
          <a:ext cx="380483" cy="38048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10 Min</a:t>
          </a:r>
          <a:endParaRPr lang="en-US" sz="900" kern="1200" dirty="0"/>
        </a:p>
      </dsp:txBody>
      <dsp:txXfrm>
        <a:off x="1290136" y="2044963"/>
        <a:ext cx="269043" cy="269043"/>
      </dsp:txXfrm>
    </dsp:sp>
    <dsp:sp modelId="{8950ADCE-D325-4070-A4ED-91A3FAACDCE2}">
      <dsp:nvSpPr>
        <dsp:cNvPr id="0" name=""/>
        <dsp:cNvSpPr/>
      </dsp:nvSpPr>
      <dsp:spPr>
        <a:xfrm>
          <a:off x="1720262" y="1114283"/>
          <a:ext cx="174365" cy="141539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lumMod val="65000"/>
            <a:lumOff val="3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1720262" y="1142591"/>
        <a:ext cx="131903" cy="84923"/>
      </dsp:txXfrm>
    </dsp:sp>
    <dsp:sp modelId="{2CF25473-6339-49F7-A9A9-D2888ED999CB}">
      <dsp:nvSpPr>
        <dsp:cNvPr id="0" name=""/>
        <dsp:cNvSpPr/>
      </dsp:nvSpPr>
      <dsp:spPr>
        <a:xfrm>
          <a:off x="1967005" y="804569"/>
          <a:ext cx="760967" cy="76096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40 Min</a:t>
          </a:r>
          <a:endParaRPr lang="en-US" sz="1800" b="1" kern="1200" dirty="0"/>
        </a:p>
      </dsp:txBody>
      <dsp:txXfrm>
        <a:off x="2078446" y="916010"/>
        <a:ext cx="538085" cy="53808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F49616-8AE2-4582-ADC5-2E0DF2210543}">
      <dsp:nvSpPr>
        <dsp:cNvPr id="0" name=""/>
        <dsp:cNvSpPr/>
      </dsp:nvSpPr>
      <dsp:spPr>
        <a:xfrm rot="16200000">
          <a:off x="-1030493" y="1598550"/>
          <a:ext cx="2422017" cy="287349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53427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Parallel Execution</a:t>
          </a:r>
          <a:endParaRPr lang="en-US" sz="1600" b="1" kern="1200" dirty="0"/>
        </a:p>
      </dsp:txBody>
      <dsp:txXfrm>
        <a:off x="-1030493" y="1598550"/>
        <a:ext cx="2422017" cy="287349"/>
      </dsp:txXfrm>
    </dsp:sp>
    <dsp:sp modelId="{A1E0CA5B-EB15-4706-8B88-6C1320DF8A16}">
      <dsp:nvSpPr>
        <dsp:cNvPr id="0" name=""/>
        <dsp:cNvSpPr/>
      </dsp:nvSpPr>
      <dsp:spPr>
        <a:xfrm>
          <a:off x="324190" y="559773"/>
          <a:ext cx="1431307" cy="2422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CDDCA21-46E5-479E-BA6C-6BD57D27042C}">
      <dsp:nvSpPr>
        <dsp:cNvPr id="0" name=""/>
        <dsp:cNvSpPr/>
      </dsp:nvSpPr>
      <dsp:spPr>
        <a:xfrm>
          <a:off x="36840" y="151915"/>
          <a:ext cx="574699" cy="574699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51BF8A3-35E2-43DA-94F4-4DF0AA218CDE}">
      <dsp:nvSpPr>
        <dsp:cNvPr id="0" name=""/>
        <dsp:cNvSpPr/>
      </dsp:nvSpPr>
      <dsp:spPr>
        <a:xfrm rot="16200000">
          <a:off x="1060377" y="1598550"/>
          <a:ext cx="2422017" cy="287349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53427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Parallel Execution</a:t>
          </a:r>
          <a:endParaRPr lang="en-US" sz="1600" b="1" kern="1200" dirty="0"/>
        </a:p>
      </dsp:txBody>
      <dsp:txXfrm>
        <a:off x="1060377" y="1598550"/>
        <a:ext cx="2422017" cy="287349"/>
      </dsp:txXfrm>
    </dsp:sp>
    <dsp:sp modelId="{4D3FFD46-7C39-4122-9928-452034EDFBAD}">
      <dsp:nvSpPr>
        <dsp:cNvPr id="0" name=""/>
        <dsp:cNvSpPr/>
      </dsp:nvSpPr>
      <dsp:spPr>
        <a:xfrm>
          <a:off x="2415061" y="531217"/>
          <a:ext cx="1431307" cy="2422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253427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•"/>
          </a:pPr>
          <a:endParaRPr lang="en-US" sz="1600" kern="1200" dirty="0"/>
        </a:p>
      </dsp:txBody>
      <dsp:txXfrm>
        <a:off x="2415061" y="531217"/>
        <a:ext cx="1431307" cy="2422017"/>
      </dsp:txXfrm>
    </dsp:sp>
    <dsp:sp modelId="{A195BAC8-0E36-4C90-B3E5-A6F77209376C}">
      <dsp:nvSpPr>
        <dsp:cNvPr id="0" name=""/>
        <dsp:cNvSpPr/>
      </dsp:nvSpPr>
      <dsp:spPr>
        <a:xfrm>
          <a:off x="2127711" y="151915"/>
          <a:ext cx="574699" cy="574699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88D6DEF-9F4B-4FE9-A3A4-617B58B91940}">
      <dsp:nvSpPr>
        <dsp:cNvPr id="0" name=""/>
        <dsp:cNvSpPr/>
      </dsp:nvSpPr>
      <dsp:spPr>
        <a:xfrm rot="16200000">
          <a:off x="3151248" y="1598550"/>
          <a:ext cx="2422017" cy="287349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53427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Parallel Execution</a:t>
          </a:r>
          <a:endParaRPr lang="en-US" sz="1600" b="1" kern="1200" dirty="0"/>
        </a:p>
      </dsp:txBody>
      <dsp:txXfrm>
        <a:off x="3151248" y="1598550"/>
        <a:ext cx="2422017" cy="287349"/>
      </dsp:txXfrm>
    </dsp:sp>
    <dsp:sp modelId="{3486DD22-4045-4902-AAB4-FC9FFB3F9B7C}">
      <dsp:nvSpPr>
        <dsp:cNvPr id="0" name=""/>
        <dsp:cNvSpPr/>
      </dsp:nvSpPr>
      <dsp:spPr>
        <a:xfrm>
          <a:off x="4505931" y="531217"/>
          <a:ext cx="1431307" cy="2422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253427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•"/>
          </a:pPr>
          <a:endParaRPr lang="en-US" sz="1600" kern="1200" dirty="0"/>
        </a:p>
      </dsp:txBody>
      <dsp:txXfrm>
        <a:off x="4505931" y="531217"/>
        <a:ext cx="1431307" cy="2422017"/>
      </dsp:txXfrm>
    </dsp:sp>
    <dsp:sp modelId="{37E0A131-5810-4CCA-BDFA-603B5AF908F0}">
      <dsp:nvSpPr>
        <dsp:cNvPr id="0" name=""/>
        <dsp:cNvSpPr/>
      </dsp:nvSpPr>
      <dsp:spPr>
        <a:xfrm>
          <a:off x="4218581" y="151915"/>
          <a:ext cx="574699" cy="574699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49AA59-F7B9-49A7-8528-4D5A3DC43D6E}">
      <dsp:nvSpPr>
        <dsp:cNvPr id="0" name=""/>
        <dsp:cNvSpPr/>
      </dsp:nvSpPr>
      <dsp:spPr>
        <a:xfrm>
          <a:off x="0" y="0"/>
          <a:ext cx="1269186" cy="127053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Parent Thread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/>
        </a:p>
      </dsp:txBody>
      <dsp:txXfrm>
        <a:off x="0" y="0"/>
        <a:ext cx="1269186" cy="127053"/>
      </dsp:txXfrm>
    </dsp:sp>
    <dsp:sp modelId="{CE65B083-E16C-418B-8B9A-A9B0DAE3A85B}">
      <dsp:nvSpPr>
        <dsp:cNvPr id="0" name=""/>
        <dsp:cNvSpPr/>
      </dsp:nvSpPr>
      <dsp:spPr>
        <a:xfrm>
          <a:off x="619" y="127053"/>
          <a:ext cx="422648" cy="2668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Thread </a:t>
          </a:r>
          <a:endParaRPr lang="en-US" sz="800" b="1" kern="1200" dirty="0"/>
        </a:p>
      </dsp:txBody>
      <dsp:txXfrm>
        <a:off x="619" y="127053"/>
        <a:ext cx="422648" cy="266813"/>
      </dsp:txXfrm>
    </dsp:sp>
    <dsp:sp modelId="{64F1C47E-DC98-451B-A494-E96BDFF5D4EB}">
      <dsp:nvSpPr>
        <dsp:cNvPr id="0" name=""/>
        <dsp:cNvSpPr/>
      </dsp:nvSpPr>
      <dsp:spPr>
        <a:xfrm>
          <a:off x="423268" y="127053"/>
          <a:ext cx="422648" cy="2668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Thread </a:t>
          </a:r>
          <a:endParaRPr lang="en-US" sz="800" b="1" kern="1200" dirty="0"/>
        </a:p>
      </dsp:txBody>
      <dsp:txXfrm>
        <a:off x="423268" y="127053"/>
        <a:ext cx="422648" cy="266813"/>
      </dsp:txXfrm>
    </dsp:sp>
    <dsp:sp modelId="{03170A9D-0A63-46F2-8D94-9ED3FE249EFF}">
      <dsp:nvSpPr>
        <dsp:cNvPr id="0" name=""/>
        <dsp:cNvSpPr/>
      </dsp:nvSpPr>
      <dsp:spPr>
        <a:xfrm>
          <a:off x="845917" y="127053"/>
          <a:ext cx="422648" cy="2668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Thread </a:t>
          </a:r>
          <a:endParaRPr lang="en-US" sz="900" b="1" kern="1200" dirty="0"/>
        </a:p>
      </dsp:txBody>
      <dsp:txXfrm>
        <a:off x="845917" y="127053"/>
        <a:ext cx="422648" cy="266813"/>
      </dsp:txXfrm>
    </dsp:sp>
    <dsp:sp modelId="{7BCF1594-0C20-436F-8BE9-04AD010C3620}">
      <dsp:nvSpPr>
        <dsp:cNvPr id="0" name=""/>
        <dsp:cNvSpPr/>
      </dsp:nvSpPr>
      <dsp:spPr>
        <a:xfrm>
          <a:off x="0" y="393867"/>
          <a:ext cx="1269186" cy="2964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49AA59-F7B9-49A7-8528-4D5A3DC43D6E}">
      <dsp:nvSpPr>
        <dsp:cNvPr id="0" name=""/>
        <dsp:cNvSpPr/>
      </dsp:nvSpPr>
      <dsp:spPr>
        <a:xfrm>
          <a:off x="0" y="0"/>
          <a:ext cx="1269186" cy="127053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Parent Thread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/>
        </a:p>
      </dsp:txBody>
      <dsp:txXfrm>
        <a:off x="0" y="0"/>
        <a:ext cx="1269186" cy="127053"/>
      </dsp:txXfrm>
    </dsp:sp>
    <dsp:sp modelId="{CE65B083-E16C-418B-8B9A-A9B0DAE3A85B}">
      <dsp:nvSpPr>
        <dsp:cNvPr id="0" name=""/>
        <dsp:cNvSpPr/>
      </dsp:nvSpPr>
      <dsp:spPr>
        <a:xfrm>
          <a:off x="619" y="127053"/>
          <a:ext cx="422648" cy="2668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Thread </a:t>
          </a:r>
          <a:endParaRPr lang="en-US" sz="800" b="1" kern="1200" dirty="0"/>
        </a:p>
      </dsp:txBody>
      <dsp:txXfrm>
        <a:off x="619" y="127053"/>
        <a:ext cx="422648" cy="266813"/>
      </dsp:txXfrm>
    </dsp:sp>
    <dsp:sp modelId="{64F1C47E-DC98-451B-A494-E96BDFF5D4EB}">
      <dsp:nvSpPr>
        <dsp:cNvPr id="0" name=""/>
        <dsp:cNvSpPr/>
      </dsp:nvSpPr>
      <dsp:spPr>
        <a:xfrm>
          <a:off x="423268" y="127053"/>
          <a:ext cx="422648" cy="2668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Thread </a:t>
          </a:r>
          <a:endParaRPr lang="en-US" sz="800" b="1" kern="1200" dirty="0"/>
        </a:p>
      </dsp:txBody>
      <dsp:txXfrm>
        <a:off x="423268" y="127053"/>
        <a:ext cx="422648" cy="266813"/>
      </dsp:txXfrm>
    </dsp:sp>
    <dsp:sp modelId="{03170A9D-0A63-46F2-8D94-9ED3FE249EFF}">
      <dsp:nvSpPr>
        <dsp:cNvPr id="0" name=""/>
        <dsp:cNvSpPr/>
      </dsp:nvSpPr>
      <dsp:spPr>
        <a:xfrm>
          <a:off x="845917" y="127053"/>
          <a:ext cx="422648" cy="2668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Thread </a:t>
          </a:r>
          <a:endParaRPr lang="en-US" sz="900" b="1" kern="1200" dirty="0"/>
        </a:p>
      </dsp:txBody>
      <dsp:txXfrm>
        <a:off x="845917" y="127053"/>
        <a:ext cx="422648" cy="266813"/>
      </dsp:txXfrm>
    </dsp:sp>
    <dsp:sp modelId="{7BCF1594-0C20-436F-8BE9-04AD010C3620}">
      <dsp:nvSpPr>
        <dsp:cNvPr id="0" name=""/>
        <dsp:cNvSpPr/>
      </dsp:nvSpPr>
      <dsp:spPr>
        <a:xfrm>
          <a:off x="0" y="393867"/>
          <a:ext cx="1269186" cy="2964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40" tIns="44070" rIns="88140" bIns="44070" numCol="1" anchor="t" anchorCtr="0" compatLnSpc="1">
            <a:prstTxWarp prst="textNoShape">
              <a:avLst/>
            </a:prstTxWarp>
          </a:bodyPr>
          <a:lstStyle>
            <a:lvl1pPr defTabSz="881498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7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436" y="0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40" tIns="44070" rIns="88140" bIns="44070" numCol="1" anchor="t" anchorCtr="0" compatLnSpc="1">
            <a:prstTxWarp prst="textNoShape">
              <a:avLst/>
            </a:prstTxWarp>
          </a:bodyPr>
          <a:lstStyle>
            <a:lvl1pPr algn="r" defTabSz="881498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7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0627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40" tIns="44070" rIns="88140" bIns="44070" numCol="1" anchor="b" anchorCtr="0" compatLnSpc="1">
            <a:prstTxWarp prst="textNoShape">
              <a:avLst/>
            </a:prstTxWarp>
          </a:bodyPr>
          <a:lstStyle>
            <a:lvl1pPr defTabSz="881498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7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436" y="8830627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40" tIns="44070" rIns="88140" bIns="44070" numCol="1" anchor="b" anchorCtr="0" compatLnSpc="1">
            <a:prstTxWarp prst="textNoShape">
              <a:avLst/>
            </a:prstTxWarp>
          </a:bodyPr>
          <a:lstStyle>
            <a:lvl1pPr algn="r" defTabSz="881498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1B2C48D5-FF3A-467F-9536-4F942814CC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933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3" tIns="46587" rIns="93173" bIns="46587" numCol="1" anchor="t" anchorCtr="0" compatLnSpc="1">
            <a:prstTxWarp prst="textNoShape">
              <a:avLst/>
            </a:prstTxWarp>
          </a:bodyPr>
          <a:lstStyle>
            <a:lvl1pPr defTabSz="932415"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436" y="0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3" tIns="46587" rIns="93173" bIns="46587" numCol="1" anchor="t" anchorCtr="0" compatLnSpc="1">
            <a:prstTxWarp prst="textNoShape">
              <a:avLst/>
            </a:prstTxWarp>
          </a:bodyPr>
          <a:lstStyle>
            <a:lvl1pPr algn="r" defTabSz="932415"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17613" y="698500"/>
            <a:ext cx="4575175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0" y="4416108"/>
            <a:ext cx="5608320" cy="4182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3" tIns="46587" rIns="93173" bIns="465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0627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3" tIns="46587" rIns="93173" bIns="46587" numCol="1" anchor="b" anchorCtr="0" compatLnSpc="1">
            <a:prstTxWarp prst="textNoShape">
              <a:avLst/>
            </a:prstTxWarp>
          </a:bodyPr>
          <a:lstStyle>
            <a:lvl1pPr defTabSz="932415"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436" y="8830627"/>
            <a:ext cx="3038372" cy="46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73" tIns="46587" rIns="93173" bIns="46587" numCol="1" anchor="b" anchorCtr="0" compatLnSpc="1">
            <a:prstTxWarp prst="textNoShape">
              <a:avLst/>
            </a:prstTxWarp>
          </a:bodyPr>
          <a:lstStyle>
            <a:lvl1pPr algn="r" defTabSz="932415">
              <a:defRPr sz="1300">
                <a:latin typeface="Arial" pitchFamily="34" charset="0"/>
              </a:defRPr>
            </a:lvl1pPr>
          </a:lstStyle>
          <a:p>
            <a:pPr>
              <a:defRPr/>
            </a:pPr>
            <a:fld id="{CA8C8FB7-4FE0-494B-BEC8-9854B46F1C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5904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1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31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4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63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796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56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14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74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724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8C8FB7-4FE0-494B-BEC8-9854B46F1C47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0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wmf"/><Relationship Id="rId4" Type="http://schemas.openxmlformats.org/officeDocument/2006/relationships/image" Target="../media/image11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wmf"/><Relationship Id="rId4" Type="http://schemas.openxmlformats.org/officeDocument/2006/relationships/image" Target="../media/image13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wmf"/><Relationship Id="rId4" Type="http://schemas.openxmlformats.org/officeDocument/2006/relationships/image" Target="../media/image9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39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6054726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2" y="1439864"/>
            <a:ext cx="8509001" cy="561975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443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2200" b="1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7" y="6827838"/>
            <a:ext cx="5842001" cy="323850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28779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49384" y="1263651"/>
            <a:ext cx="4651766" cy="1247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5460001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2" y="5"/>
            <a:ext cx="2239963" cy="2511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85032" y="5"/>
            <a:ext cx="1604720" cy="2511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81752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0" y="5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4"/>
            <a:ext cx="4267200" cy="126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1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40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42863442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9090" y="5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14350" y="1263651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1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14350" y="1963740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3950" y="1963740"/>
            <a:ext cx="4267200" cy="12670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89992595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0" y="5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2" y="1263652"/>
            <a:ext cx="8686800" cy="344686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344453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44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738" y="6053138"/>
            <a:ext cx="221615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11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5092" y="1441027"/>
            <a:ext cx="8511064" cy="560493"/>
          </a:xfrm>
        </p:spPr>
        <p:txBody>
          <a:bodyPr anchor="b"/>
          <a:lstStyle>
            <a:lvl1pPr>
              <a:defRPr sz="17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911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1784" y="2076027"/>
            <a:ext cx="8577739" cy="574646"/>
          </a:xfrm>
        </p:spPr>
        <p:txBody>
          <a:bodyPr/>
          <a:lstStyle>
            <a:lvl1pPr>
              <a:spcAft>
                <a:spcPct val="0"/>
              </a:spcAft>
              <a:defRPr sz="31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8" y="6827865"/>
            <a:ext cx="5840412" cy="325437"/>
          </a:xfrm>
        </p:spPr>
        <p:txBody>
          <a:bodyPr anchor="t"/>
          <a:lstStyle>
            <a:lvl1pPr algn="l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Fidelity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6733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3413" y="1056641"/>
            <a:ext cx="8687753" cy="5689600"/>
          </a:xfrm>
        </p:spPr>
        <p:txBody>
          <a:bodyPr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l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Fidelity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32336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429" y="4700697"/>
            <a:ext cx="8161020" cy="1452880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429" y="4273933"/>
            <a:ext cx="8161020" cy="426762"/>
          </a:xfrm>
        </p:spPr>
        <p:txBody>
          <a:bodyPr anchor="b"/>
          <a:lstStyle>
            <a:lvl1pPr marL="0" indent="0">
              <a:buNone/>
              <a:defRPr sz="2100"/>
            </a:lvl1pPr>
            <a:lvl2pPr marL="481349" indent="0">
              <a:buNone/>
              <a:defRPr sz="1900"/>
            </a:lvl2pPr>
            <a:lvl3pPr marL="962698" indent="0">
              <a:buNone/>
              <a:defRPr sz="1700"/>
            </a:lvl3pPr>
            <a:lvl4pPr marL="1444046" indent="0">
              <a:buNone/>
              <a:defRPr sz="1500"/>
            </a:lvl4pPr>
            <a:lvl5pPr marL="1925400" indent="0">
              <a:buNone/>
              <a:defRPr sz="1500"/>
            </a:lvl5pPr>
            <a:lvl6pPr marL="2406750" indent="0">
              <a:buNone/>
              <a:defRPr sz="1500"/>
            </a:lvl6pPr>
            <a:lvl7pPr marL="2888094" indent="0">
              <a:buNone/>
              <a:defRPr sz="1500"/>
            </a:lvl7pPr>
            <a:lvl8pPr marL="3369450" indent="0">
              <a:buNone/>
              <a:defRPr sz="1500"/>
            </a:lvl8pPr>
            <a:lvl9pPr marL="3850796" indent="0"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95071605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3398" y="1549441"/>
            <a:ext cx="4263866" cy="2752165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7284" y="1549441"/>
            <a:ext cx="4263866" cy="2752165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8395373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60" y="292959"/>
            <a:ext cx="8641080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77" y="1433531"/>
            <a:ext cx="4242197" cy="886375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81349" indent="0">
              <a:buNone/>
              <a:defRPr sz="2100" b="1"/>
            </a:lvl2pPr>
            <a:lvl3pPr marL="962698" indent="0">
              <a:buNone/>
              <a:defRPr sz="1900" b="1"/>
            </a:lvl3pPr>
            <a:lvl4pPr marL="1444046" indent="0">
              <a:buNone/>
              <a:defRPr sz="1700" b="1"/>
            </a:lvl4pPr>
            <a:lvl5pPr marL="1925400" indent="0">
              <a:buNone/>
              <a:defRPr sz="1700" b="1"/>
            </a:lvl5pPr>
            <a:lvl6pPr marL="2406750" indent="0">
              <a:buNone/>
              <a:defRPr sz="1700" b="1"/>
            </a:lvl6pPr>
            <a:lvl7pPr marL="2888094" indent="0">
              <a:buNone/>
              <a:defRPr sz="1700" b="1"/>
            </a:lvl7pPr>
            <a:lvl8pPr marL="3369450" indent="0">
              <a:buNone/>
              <a:defRPr sz="1700" b="1"/>
            </a:lvl8pPr>
            <a:lvl9pPr marL="3850796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77" y="2319894"/>
            <a:ext cx="4242197" cy="241951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7288" y="1433531"/>
            <a:ext cx="4243864" cy="886375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81349" indent="0">
              <a:buNone/>
              <a:defRPr sz="2100" b="1"/>
            </a:lvl2pPr>
            <a:lvl3pPr marL="962698" indent="0">
              <a:buNone/>
              <a:defRPr sz="1900" b="1"/>
            </a:lvl3pPr>
            <a:lvl4pPr marL="1444046" indent="0">
              <a:buNone/>
              <a:defRPr sz="1700" b="1"/>
            </a:lvl4pPr>
            <a:lvl5pPr marL="1925400" indent="0">
              <a:buNone/>
              <a:defRPr sz="1700" b="1"/>
            </a:lvl5pPr>
            <a:lvl6pPr marL="2406750" indent="0">
              <a:buNone/>
              <a:defRPr sz="1700" b="1"/>
            </a:lvl6pPr>
            <a:lvl7pPr marL="2888094" indent="0">
              <a:buNone/>
              <a:defRPr sz="1700" b="1"/>
            </a:lvl7pPr>
            <a:lvl8pPr marL="3369450" indent="0">
              <a:buNone/>
              <a:defRPr sz="1700" b="1"/>
            </a:lvl8pPr>
            <a:lvl9pPr marL="3850796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7288" y="2319894"/>
            <a:ext cx="4243864" cy="241951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43929397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62817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0" y="1"/>
            <a:ext cx="2239963" cy="2511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84973" y="1"/>
            <a:ext cx="1604778" cy="2511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50906519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3400438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99" y="291265"/>
            <a:ext cx="3158729" cy="123952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3802" y="291267"/>
            <a:ext cx="5367338" cy="3144580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0099" y="1530788"/>
            <a:ext cx="3158729" cy="328425"/>
          </a:xfrm>
        </p:spPr>
        <p:txBody>
          <a:bodyPr/>
          <a:lstStyle>
            <a:lvl1pPr marL="0" indent="0">
              <a:buNone/>
              <a:defRPr sz="1500"/>
            </a:lvl1pPr>
            <a:lvl2pPr marL="481349" indent="0">
              <a:buNone/>
              <a:defRPr sz="1300"/>
            </a:lvl2pPr>
            <a:lvl3pPr marL="962698" indent="0">
              <a:buNone/>
              <a:defRPr sz="1100"/>
            </a:lvl3pPr>
            <a:lvl4pPr marL="1444046" indent="0">
              <a:buNone/>
              <a:defRPr sz="1000"/>
            </a:lvl4pPr>
            <a:lvl5pPr marL="1925400" indent="0">
              <a:buNone/>
              <a:defRPr sz="1000"/>
            </a:lvl5pPr>
            <a:lvl6pPr marL="2406750" indent="0">
              <a:buNone/>
              <a:defRPr sz="1000"/>
            </a:lvl6pPr>
            <a:lvl7pPr marL="2888094" indent="0">
              <a:buNone/>
              <a:defRPr sz="1000"/>
            </a:lvl7pPr>
            <a:lvl8pPr marL="3369450" indent="0">
              <a:buNone/>
              <a:defRPr sz="1000"/>
            </a:lvl8pPr>
            <a:lvl9pPr marL="385079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09041616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902" y="5120660"/>
            <a:ext cx="5760720" cy="604521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902" y="653627"/>
            <a:ext cx="5760720" cy="620812"/>
          </a:xfrm>
        </p:spPr>
        <p:txBody>
          <a:bodyPr/>
          <a:lstStyle>
            <a:lvl1pPr marL="0" indent="0">
              <a:buNone/>
              <a:defRPr sz="3400"/>
            </a:lvl1pPr>
            <a:lvl2pPr marL="481349" indent="0">
              <a:buNone/>
              <a:defRPr sz="3000"/>
            </a:lvl2pPr>
            <a:lvl3pPr marL="962698" indent="0">
              <a:buNone/>
              <a:defRPr sz="2500"/>
            </a:lvl3pPr>
            <a:lvl4pPr marL="1444046" indent="0">
              <a:buNone/>
              <a:defRPr sz="2100"/>
            </a:lvl4pPr>
            <a:lvl5pPr marL="1925400" indent="0">
              <a:buNone/>
              <a:defRPr sz="2100"/>
            </a:lvl5pPr>
            <a:lvl6pPr marL="2406750" indent="0">
              <a:buNone/>
              <a:defRPr sz="2100"/>
            </a:lvl6pPr>
            <a:lvl7pPr marL="2888094" indent="0">
              <a:buNone/>
              <a:defRPr sz="2100"/>
            </a:lvl7pPr>
            <a:lvl8pPr marL="3369450" indent="0">
              <a:buNone/>
              <a:defRPr sz="2100"/>
            </a:lvl8pPr>
            <a:lvl9pPr marL="3850796" indent="0">
              <a:buNone/>
              <a:defRPr sz="21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902" y="5725172"/>
            <a:ext cx="5760720" cy="328425"/>
          </a:xfrm>
        </p:spPr>
        <p:txBody>
          <a:bodyPr/>
          <a:lstStyle>
            <a:lvl1pPr marL="0" indent="0">
              <a:buNone/>
              <a:defRPr sz="1500"/>
            </a:lvl1pPr>
            <a:lvl2pPr marL="481349" indent="0">
              <a:buNone/>
              <a:defRPr sz="1300"/>
            </a:lvl2pPr>
            <a:lvl3pPr marL="962698" indent="0">
              <a:buNone/>
              <a:defRPr sz="1100"/>
            </a:lvl3pPr>
            <a:lvl4pPr marL="1444046" indent="0">
              <a:buNone/>
              <a:defRPr sz="1000"/>
            </a:lvl4pPr>
            <a:lvl5pPr marL="1925400" indent="0">
              <a:buNone/>
              <a:defRPr sz="1000"/>
            </a:lvl5pPr>
            <a:lvl6pPr marL="2406750" indent="0">
              <a:buNone/>
              <a:defRPr sz="1000"/>
            </a:lvl6pPr>
            <a:lvl7pPr marL="2888094" indent="0">
              <a:buNone/>
              <a:defRPr sz="1000"/>
            </a:lvl7pPr>
            <a:lvl8pPr marL="3369450" indent="0">
              <a:buNone/>
              <a:defRPr sz="1000"/>
            </a:lvl8pPr>
            <a:lvl9pPr marL="385079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88241620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52" y="162574"/>
            <a:ext cx="8961120" cy="677333"/>
          </a:xfrm>
        </p:spPr>
        <p:txBody>
          <a:bodyPr/>
          <a:lstStyle>
            <a:lvl1pPr>
              <a:tabLst>
                <a:tab pos="8002437" algn="l"/>
              </a:tabLst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53114" y="1549411"/>
            <a:ext cx="5148058" cy="154260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20306481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0892" y="-216747"/>
            <a:ext cx="2240280" cy="329184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41482" y="-216747"/>
            <a:ext cx="1639405" cy="329184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686359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102" y="2272493"/>
            <a:ext cx="8161020" cy="156802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180" y="4145280"/>
            <a:ext cx="6720840" cy="359202"/>
          </a:xfrm>
        </p:spPr>
        <p:txBody>
          <a:bodyPr/>
          <a:lstStyle>
            <a:lvl1pPr marL="0" indent="0" algn="ctr">
              <a:buNone/>
              <a:defRPr/>
            </a:lvl1pPr>
            <a:lvl2pPr marL="481349" indent="0" algn="ctr">
              <a:buNone/>
              <a:defRPr/>
            </a:lvl2pPr>
            <a:lvl3pPr marL="962698" indent="0" algn="ctr">
              <a:buNone/>
              <a:defRPr/>
            </a:lvl3pPr>
            <a:lvl4pPr marL="1444046" indent="0" algn="ctr">
              <a:buNone/>
              <a:defRPr/>
            </a:lvl4pPr>
            <a:lvl5pPr marL="1925400" indent="0" algn="ctr">
              <a:buNone/>
              <a:defRPr/>
            </a:lvl5pPr>
            <a:lvl6pPr marL="2406750" indent="0" algn="ctr">
              <a:buNone/>
              <a:defRPr/>
            </a:lvl6pPr>
            <a:lvl7pPr marL="2888094" indent="0" algn="ctr">
              <a:buNone/>
              <a:defRPr/>
            </a:lvl7pPr>
            <a:lvl8pPr marL="3369450" indent="0" algn="ctr">
              <a:buNone/>
              <a:defRPr/>
            </a:lvl8pPr>
            <a:lvl9pPr marL="385079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ctr" defTabSz="910779" eaLnBrk="1" fontAlgn="auto" hangingPunct="1">
              <a:spcBef>
                <a:spcPts val="0"/>
              </a:spcBef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5315956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101" y="20"/>
            <a:ext cx="8963025" cy="10556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14350" y="1549409"/>
            <a:ext cx="8686800" cy="361103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573554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8" y="3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7"/>
            <a:ext cx="4267200" cy="2538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7"/>
            <a:ext cx="4267200" cy="2538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40"/>
            <a:ext cx="4267200" cy="2538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16699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39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6054726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2" y="1439864"/>
            <a:ext cx="8509001" cy="561975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443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2200" b="1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7" y="6827838"/>
            <a:ext cx="5842001" cy="323850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0864485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9014916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303969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1"/>
            <a:ext cx="4267200" cy="126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4372773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4290243"/>
            <a:ext cx="8161338" cy="4103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9" indent="0">
              <a:buNone/>
              <a:defRPr sz="1800"/>
            </a:lvl2pPr>
            <a:lvl3pPr marL="914319" indent="0">
              <a:buNone/>
              <a:defRPr sz="1600"/>
            </a:lvl3pPr>
            <a:lvl4pPr marL="1371477" indent="0">
              <a:buNone/>
              <a:defRPr sz="1400"/>
            </a:lvl4pPr>
            <a:lvl5pPr marL="1828637" indent="0">
              <a:buNone/>
              <a:defRPr sz="1400"/>
            </a:lvl5pPr>
            <a:lvl6pPr marL="2285796" indent="0">
              <a:buNone/>
              <a:defRPr sz="1400"/>
            </a:lvl6pPr>
            <a:lvl7pPr marL="2742956" indent="0">
              <a:buNone/>
              <a:defRPr sz="1400"/>
            </a:lvl7pPr>
            <a:lvl8pPr marL="3200114" indent="0">
              <a:buNone/>
              <a:defRPr sz="1400"/>
            </a:lvl8pPr>
            <a:lvl9pPr marL="36572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6790796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7873489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65796"/>
            <a:ext cx="4243388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9"/>
            <a:ext cx="4243388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1465796"/>
            <a:ext cx="4244975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2319339"/>
            <a:ext cx="4244975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6070846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1425636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34506467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0515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3"/>
            <a:ext cx="5367338" cy="299402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6" y="1530350"/>
            <a:ext cx="3159125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974126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590908"/>
          </a:xfrm>
        </p:spPr>
        <p:txBody>
          <a:bodyPr/>
          <a:lstStyle>
            <a:lvl1pPr marL="0" indent="0">
              <a:buNone/>
              <a:defRPr sz="3200"/>
            </a:lvl1pPr>
            <a:lvl2pPr marL="457159" indent="0">
              <a:buNone/>
              <a:defRPr sz="2700"/>
            </a:lvl2pPr>
            <a:lvl3pPr marL="914319" indent="0">
              <a:buNone/>
              <a:defRPr sz="2400"/>
            </a:lvl3pPr>
            <a:lvl4pPr marL="1371477" indent="0">
              <a:buNone/>
              <a:defRPr sz="2000"/>
            </a:lvl4pPr>
            <a:lvl5pPr marL="1828637" indent="0">
              <a:buNone/>
              <a:defRPr sz="2000"/>
            </a:lvl5pPr>
            <a:lvl6pPr marL="2285796" indent="0">
              <a:buNone/>
              <a:defRPr sz="2000"/>
            </a:lvl6pPr>
            <a:lvl7pPr marL="2742956" indent="0">
              <a:buNone/>
              <a:defRPr sz="2000"/>
            </a:lvl7pPr>
            <a:lvl8pPr marL="3200114" indent="0">
              <a:buNone/>
              <a:defRPr sz="2000"/>
            </a:lvl8pPr>
            <a:lvl9pPr marL="365727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25"/>
            <a:ext cx="5761037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65579465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49384" y="1263651"/>
            <a:ext cx="4651766" cy="1247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72168474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0" y="1"/>
            <a:ext cx="2239963" cy="2511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84973" y="1"/>
            <a:ext cx="1604778" cy="2511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56190325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1"/>
            <a:ext cx="4267200" cy="126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769704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143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143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29491715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143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143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1673948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3651"/>
            <a:ext cx="8686800" cy="344686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9539719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3651"/>
            <a:ext cx="8686800" cy="344686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909593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725" y="2271713"/>
            <a:ext cx="8159750" cy="1568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9864" y="4144964"/>
            <a:ext cx="6721475" cy="1870075"/>
          </a:xfrm>
        </p:spPr>
        <p:txBody>
          <a:bodyPr/>
          <a:lstStyle>
            <a:lvl1pPr marL="0" indent="0" algn="ctr">
              <a:buNone/>
              <a:defRPr/>
            </a:lvl1pPr>
            <a:lvl2pPr marL="457159" indent="0" algn="ctr">
              <a:buNone/>
              <a:defRPr/>
            </a:lvl2pPr>
            <a:lvl3pPr marL="914319" indent="0" algn="ctr">
              <a:buNone/>
              <a:defRPr/>
            </a:lvl3pPr>
            <a:lvl4pPr marL="1371477" indent="0" algn="ctr">
              <a:buNone/>
              <a:defRPr/>
            </a:lvl4pPr>
            <a:lvl5pPr marL="1828637" indent="0" algn="ctr">
              <a:buNone/>
              <a:defRPr/>
            </a:lvl5pPr>
            <a:lvl6pPr marL="2285796" indent="0" algn="ctr">
              <a:buNone/>
              <a:defRPr/>
            </a:lvl6pPr>
            <a:lvl7pPr marL="2742956" indent="0" algn="ctr">
              <a:buNone/>
              <a:defRPr/>
            </a:lvl7pPr>
            <a:lvl8pPr marL="3200114" indent="0" algn="ctr">
              <a:buNone/>
              <a:defRPr/>
            </a:lvl8pPr>
            <a:lvl9pPr marL="365727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9995237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6580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3100387"/>
            <a:ext cx="8161338" cy="1600201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9" indent="0">
              <a:buNone/>
              <a:defRPr sz="1800"/>
            </a:lvl2pPr>
            <a:lvl3pPr marL="914319" indent="0">
              <a:buNone/>
              <a:defRPr sz="1600"/>
            </a:lvl3pPr>
            <a:lvl4pPr marL="1371477" indent="0">
              <a:buNone/>
              <a:defRPr sz="1400"/>
            </a:lvl4pPr>
            <a:lvl5pPr marL="1828637" indent="0">
              <a:buNone/>
              <a:defRPr sz="1400"/>
            </a:lvl5pPr>
            <a:lvl6pPr marL="2285796" indent="0">
              <a:buNone/>
              <a:defRPr sz="1400"/>
            </a:lvl6pPr>
            <a:lvl7pPr marL="2742956" indent="0">
              <a:buNone/>
              <a:defRPr sz="1400"/>
            </a:lvl7pPr>
            <a:lvl8pPr marL="3200114" indent="0">
              <a:buNone/>
              <a:defRPr sz="1400"/>
            </a:lvl8pPr>
            <a:lvl9pPr marL="36572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7585760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2039" y="3267076"/>
            <a:ext cx="3756025" cy="151606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0463" y="3267076"/>
            <a:ext cx="3757612" cy="151606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080872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636714"/>
            <a:ext cx="4243388" cy="68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9"/>
            <a:ext cx="4243388" cy="42148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1636714"/>
            <a:ext cx="4244975" cy="68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2319339"/>
            <a:ext cx="4244975" cy="42148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060260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9014916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50630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0900454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83316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0515"/>
            <a:ext cx="3159125" cy="12398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3"/>
            <a:ext cx="5367338" cy="624363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6" y="1530350"/>
            <a:ext cx="3159125" cy="5003801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339915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4389438"/>
          </a:xfrm>
        </p:spPr>
        <p:txBody>
          <a:bodyPr/>
          <a:lstStyle>
            <a:lvl1pPr marL="0" indent="0">
              <a:buNone/>
              <a:defRPr sz="3200"/>
            </a:lvl1pPr>
            <a:lvl2pPr marL="457159" indent="0">
              <a:buNone/>
              <a:defRPr sz="2700"/>
            </a:lvl2pPr>
            <a:lvl3pPr marL="914319" indent="0">
              <a:buNone/>
              <a:defRPr sz="2400"/>
            </a:lvl3pPr>
            <a:lvl4pPr marL="1371477" indent="0">
              <a:buNone/>
              <a:defRPr sz="2000"/>
            </a:lvl4pPr>
            <a:lvl5pPr marL="1828637" indent="0">
              <a:buNone/>
              <a:defRPr sz="2000"/>
            </a:lvl5pPr>
            <a:lvl6pPr marL="2285796" indent="0">
              <a:buNone/>
              <a:defRPr sz="2000"/>
            </a:lvl6pPr>
            <a:lvl7pPr marL="2742956" indent="0">
              <a:buNone/>
              <a:defRPr sz="2000"/>
            </a:lvl7pPr>
            <a:lvl8pPr marL="3200114" indent="0">
              <a:buNone/>
              <a:defRPr sz="2000"/>
            </a:lvl8pPr>
            <a:lvl9pPr marL="365727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26"/>
            <a:ext cx="5761037" cy="858838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505247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6108161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11964" y="2554289"/>
            <a:ext cx="1916112" cy="2228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2038" y="2554289"/>
            <a:ext cx="5597525" cy="2228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5402295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0114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39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6054726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2" y="1439864"/>
            <a:ext cx="8509001" cy="561975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443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2200" b="1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7" y="6827838"/>
            <a:ext cx="5842001" cy="323850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9904547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9014916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3893429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4290243"/>
            <a:ext cx="8161338" cy="4103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9" indent="0">
              <a:buNone/>
              <a:defRPr sz="1800"/>
            </a:lvl2pPr>
            <a:lvl3pPr marL="914319" indent="0">
              <a:buNone/>
              <a:defRPr sz="1600"/>
            </a:lvl3pPr>
            <a:lvl4pPr marL="1371477" indent="0">
              <a:buNone/>
              <a:defRPr sz="1400"/>
            </a:lvl4pPr>
            <a:lvl5pPr marL="1828637" indent="0">
              <a:buNone/>
              <a:defRPr sz="1400"/>
            </a:lvl5pPr>
            <a:lvl6pPr marL="2285796" indent="0">
              <a:buNone/>
              <a:defRPr sz="1400"/>
            </a:lvl6pPr>
            <a:lvl7pPr marL="2742956" indent="0">
              <a:buNone/>
              <a:defRPr sz="1400"/>
            </a:lvl7pPr>
            <a:lvl8pPr marL="3200114" indent="0">
              <a:buNone/>
              <a:defRPr sz="1400"/>
            </a:lvl8pPr>
            <a:lvl9pPr marL="36572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942505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4290243"/>
            <a:ext cx="8161338" cy="4103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9" indent="0">
              <a:buNone/>
              <a:defRPr sz="1800"/>
            </a:lvl2pPr>
            <a:lvl3pPr marL="914319" indent="0">
              <a:buNone/>
              <a:defRPr sz="1600"/>
            </a:lvl3pPr>
            <a:lvl4pPr marL="1371477" indent="0">
              <a:buNone/>
              <a:defRPr sz="1400"/>
            </a:lvl4pPr>
            <a:lvl5pPr marL="1828637" indent="0">
              <a:buNone/>
              <a:defRPr sz="1400"/>
            </a:lvl5pPr>
            <a:lvl6pPr marL="2285796" indent="0">
              <a:buNone/>
              <a:defRPr sz="1400"/>
            </a:lvl6pPr>
            <a:lvl7pPr marL="2742956" indent="0">
              <a:buNone/>
              <a:defRPr sz="1400"/>
            </a:lvl7pPr>
            <a:lvl8pPr marL="3200114" indent="0">
              <a:buNone/>
              <a:defRPr sz="1400"/>
            </a:lvl8pPr>
            <a:lvl9pPr marL="36572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34356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06596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65796"/>
            <a:ext cx="4243388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9"/>
            <a:ext cx="4243388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1465796"/>
            <a:ext cx="4244975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2319339"/>
            <a:ext cx="4244975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1410761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6745682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4837510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0515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3"/>
            <a:ext cx="5367338" cy="299402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6" y="1530350"/>
            <a:ext cx="3159125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3980043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590908"/>
          </a:xfrm>
        </p:spPr>
        <p:txBody>
          <a:bodyPr/>
          <a:lstStyle>
            <a:lvl1pPr marL="0" indent="0">
              <a:buNone/>
              <a:defRPr sz="3200"/>
            </a:lvl1pPr>
            <a:lvl2pPr marL="457159" indent="0">
              <a:buNone/>
              <a:defRPr sz="2700"/>
            </a:lvl2pPr>
            <a:lvl3pPr marL="914319" indent="0">
              <a:buNone/>
              <a:defRPr sz="2400"/>
            </a:lvl3pPr>
            <a:lvl4pPr marL="1371477" indent="0">
              <a:buNone/>
              <a:defRPr sz="2000"/>
            </a:lvl4pPr>
            <a:lvl5pPr marL="1828637" indent="0">
              <a:buNone/>
              <a:defRPr sz="2000"/>
            </a:lvl5pPr>
            <a:lvl6pPr marL="2285796" indent="0">
              <a:buNone/>
              <a:defRPr sz="2000"/>
            </a:lvl6pPr>
            <a:lvl7pPr marL="2742956" indent="0">
              <a:buNone/>
              <a:defRPr sz="2000"/>
            </a:lvl7pPr>
            <a:lvl8pPr marL="3200114" indent="0">
              <a:buNone/>
              <a:defRPr sz="2000"/>
            </a:lvl8pPr>
            <a:lvl9pPr marL="365727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25"/>
            <a:ext cx="5761037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62241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49384" y="1263651"/>
            <a:ext cx="4651766" cy="1247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80095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0" y="1"/>
            <a:ext cx="2239963" cy="2511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84973" y="1"/>
            <a:ext cx="1604778" cy="2511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6703319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1"/>
            <a:ext cx="4267200" cy="126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1944692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143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143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673920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8812391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3651"/>
            <a:ext cx="8686800" cy="344686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6837176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90708_cvr_03_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163644"/>
            <a:ext cx="9601200" cy="615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" descr="Fid_Turn_Here_Blk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3150" y="6054770"/>
            <a:ext cx="2217738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626626" y="6535757"/>
            <a:ext cx="1297907" cy="245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21" tIns="45510" rIns="91021" bIns="45510">
            <a:spAutoFit/>
          </a:bodyPr>
          <a:lstStyle/>
          <a:p>
            <a:pPr algn="ctr">
              <a:defRPr/>
            </a:pPr>
            <a:r>
              <a:rPr lang="en-US" sz="1000" dirty="0">
                <a:solidFill>
                  <a:srgbClr val="7F7F7F"/>
                </a:solidFill>
              </a:rPr>
              <a:t>Fidelity Confidential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2" y="1439869"/>
            <a:ext cx="8509001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72"/>
            <a:ext cx="8578850" cy="672946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760" y="4810174"/>
            <a:ext cx="3452523" cy="374599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3" y="380629"/>
            <a:ext cx="2255734" cy="251488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81721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4745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0" y="708027"/>
            <a:ext cx="9601200" cy="673100"/>
            <a:chOff x="0" y="418"/>
            <a:chExt cx="5760" cy="397"/>
          </a:xfrm>
        </p:grpSpPr>
        <p:pic>
          <p:nvPicPr>
            <p:cNvPr id="4" name="Picture 3" descr="Txt_DropShadow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1399" tIns="45699" rIns="91399" bIns="45699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6" name="Picture 5" descr="90708_Gri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 descr="New_Greendisc copy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2250" y="979488"/>
            <a:ext cx="600075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Fid_Logo_Grey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16"/>
          <p:cNvSpPr>
            <a:spLocks noChangeShapeType="1"/>
          </p:cNvSpPr>
          <p:nvPr/>
        </p:nvSpPr>
        <p:spPr bwMode="auto">
          <a:xfrm flipV="1">
            <a:off x="382589" y="6981870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0" name="Rectangle 17"/>
          <p:cNvSpPr>
            <a:spLocks noChangeArrowheads="1"/>
          </p:cNvSpPr>
          <p:nvPr/>
        </p:nvSpPr>
        <p:spPr bwMode="auto">
          <a:xfrm>
            <a:off x="73034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211" tIns="48110" rIns="96211" bIns="48110" anchor="b"/>
          <a:lstStyle/>
          <a:p>
            <a:pPr defTabSz="962827">
              <a:spcAft>
                <a:spcPct val="30000"/>
              </a:spcAft>
              <a:defRPr/>
            </a:pPr>
            <a:fld id="{291D2FC7-3053-45ED-AEB5-F456C3FA6776}" type="slidenum">
              <a:rPr lang="en-US" sz="1000">
                <a:solidFill>
                  <a:srgbClr val="BFBFBF"/>
                </a:solidFill>
              </a:rPr>
              <a:pPr defTabSz="962827">
                <a:spcAft>
                  <a:spcPct val="30000"/>
                </a:spcAft>
                <a:defRPr/>
              </a:pPr>
              <a:t>‹#›</a:t>
            </a:fld>
            <a:endParaRPr lang="en-US" sz="1000" dirty="0">
              <a:solidFill>
                <a:srgbClr val="BFBFBF"/>
              </a:solidFill>
            </a:endParaRPr>
          </a:p>
        </p:txBody>
      </p:sp>
      <p:sp>
        <p:nvSpPr>
          <p:cNvPr id="11" name="Text Placeholder 10"/>
          <p:cNvSpPr txBox="1">
            <a:spLocks/>
          </p:cNvSpPr>
          <p:nvPr/>
        </p:nvSpPr>
        <p:spPr bwMode="auto">
          <a:xfrm>
            <a:off x="379457" y="7007225"/>
            <a:ext cx="1343025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021" tIns="45510" rIns="91021" bIns="45510"/>
          <a:lstStyle/>
          <a:p>
            <a:pPr marL="281419" indent="-281419" defTabSz="962827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sz="1000" dirty="0">
                <a:solidFill>
                  <a:srgbClr val="7F7F7F"/>
                </a:solidFill>
              </a:rPr>
              <a:t>Fidelity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 bwMode="auto">
          <a:xfrm>
            <a:off x="320675" y="6827883"/>
            <a:ext cx="5840413" cy="32543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6217" tIns="48111" rIns="96217" bIns="48111" numCol="1" anchor="t" anchorCtr="0" compatLnSpc="1">
            <a:prstTxWarp prst="textNoShape">
              <a:avLst/>
            </a:prstTxWarp>
          </a:bodyPr>
          <a:lstStyle>
            <a:lvl1pPr>
              <a:defRPr dirty="0">
                <a:latin typeface="Arial" pitchFamily="34" charset="0"/>
              </a:defRPr>
            </a:lvl1pPr>
          </a:lstStyle>
          <a:p>
            <a:pPr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1"/>
          </p:nvPr>
        </p:nvSpPr>
        <p:spPr bwMode="auto">
          <a:xfrm>
            <a:off x="7280275" y="6827883"/>
            <a:ext cx="2000250" cy="32543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6217" tIns="48111" rIns="96217" bIns="48111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A804EC9C-4645-4D28-AE94-11FED3FB02C7}" type="slidenum">
              <a:rPr lang="en-US" sz="14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210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8" y="4"/>
            <a:ext cx="8963025" cy="10556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549424"/>
            <a:ext cx="8686800" cy="20771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62985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8" y="4"/>
            <a:ext cx="8963025" cy="10556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549401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549401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2652713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44478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8" y="4"/>
            <a:ext cx="8963025" cy="10556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549401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549401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2652713"/>
            <a:ext cx="4267200" cy="25387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9804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0" y="708027"/>
            <a:ext cx="9601200" cy="673100"/>
            <a:chOff x="0" y="418"/>
            <a:chExt cx="5760" cy="397"/>
          </a:xfrm>
        </p:grpSpPr>
        <p:pic>
          <p:nvPicPr>
            <p:cNvPr id="6" name="Picture 3" descr="Txt_DropShadow"/>
            <p:cNvPicPr>
              <a:picLocks noChangeAspect="1" noChangeArrowheads="1"/>
            </p:cNvPicPr>
            <p:nvPr userDrawn="1"/>
          </p:nvPicPr>
          <p:blipFill>
            <a:blip r:embed="rId2" cstate="email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8" name="Picture 5" descr="90708_Grid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0" descr="New_Greendisc copy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22250" y="977945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4" descr="Fid_Logo_Grey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Line 16"/>
          <p:cNvSpPr>
            <a:spLocks noChangeShapeType="1"/>
          </p:cNvSpPr>
          <p:nvPr/>
        </p:nvSpPr>
        <p:spPr bwMode="auto">
          <a:xfrm flipV="1">
            <a:off x="382589" y="6981870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73034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288" tIns="48148" rIns="96288" bIns="48148" anchor="b"/>
          <a:lstStyle/>
          <a:p>
            <a:pPr defTabSz="963171">
              <a:spcAft>
                <a:spcPct val="30000"/>
              </a:spcAft>
              <a:defRPr/>
            </a:pPr>
            <a:fld id="{B30A083B-EDD9-4CE9-A321-26F41E26CF0E}" type="slidenum">
              <a:rPr lang="en-US" sz="1000">
                <a:solidFill>
                  <a:srgbClr val="BFBFBF"/>
                </a:solidFill>
                <a:latin typeface="Arial" pitchFamily="34" charset="0"/>
              </a:rPr>
              <a:pPr defTabSz="963171">
                <a:spcAft>
                  <a:spcPct val="30000"/>
                </a:spcAft>
                <a:defRPr/>
              </a:pPr>
              <a:t>‹#›</a:t>
            </a:fld>
            <a:endParaRPr lang="en-US" sz="10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379457" y="7007225"/>
            <a:ext cx="1343025" cy="234950"/>
          </a:xfrm>
          <a:prstGeom prst="rect">
            <a:avLst/>
          </a:prstGeom>
        </p:spPr>
        <p:txBody>
          <a:bodyPr lIns="91095" tIns="45547" rIns="91095" bIns="45547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1519" indent="-281519" defTabSz="963171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0"/>
            <a:ext cx="8961120" cy="105664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4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90708_cvr_03_C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163638"/>
            <a:ext cx="9601200" cy="615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9"/>
          <p:cNvSpPr/>
          <p:nvPr/>
        </p:nvSpPr>
        <p:spPr>
          <a:xfrm>
            <a:off x="679450" y="6535738"/>
            <a:ext cx="1192213" cy="2301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</a:rPr>
              <a:t>Fidelity Confidential</a:t>
            </a: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Picture 13" descr="Fidelity_TurnHere_BW_tran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99175" y="6054725"/>
            <a:ext cx="2286000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3" y="1439863"/>
            <a:ext cx="8509000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3"/>
            <a:ext cx="8578850" cy="922337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712" y="4810125"/>
            <a:ext cx="3452523" cy="374599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3" y="380629"/>
            <a:ext cx="2255734" cy="251488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1509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2059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65796"/>
            <a:ext cx="4243388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9"/>
            <a:ext cx="4243388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1465796"/>
            <a:ext cx="4244975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2319339"/>
            <a:ext cx="4244975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3635768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5"/>
            <a:ext cx="9601200" cy="673100"/>
            <a:chOff x="0" y="418"/>
            <a:chExt cx="5760" cy="397"/>
          </a:xfrm>
        </p:grpSpPr>
        <p:pic>
          <p:nvPicPr>
            <p:cNvPr id="3" name="Picture 3" descr="Txt_DropShadow"/>
            <p:cNvPicPr>
              <a:picLocks noChangeAspect="1" noChangeArrowheads="1"/>
            </p:cNvPicPr>
            <p:nvPr userDrawn="1"/>
          </p:nvPicPr>
          <p:blipFill>
            <a:blip r:embed="rId2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5" name="Picture 5" descr="90708_Grid"/>
          <p:cNvPicPr>
            <a:picLocks noChangeAspect="1" noChangeArrowheads="1"/>
          </p:cNvPicPr>
          <p:nvPr/>
        </p:nvPicPr>
        <p:blipFill>
          <a:blip r:embed="rId3"/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0" descr="New_Greendisc copy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22250" y="977900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Fid_Logo_Grey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16"/>
          <p:cNvSpPr>
            <a:spLocks noChangeShapeType="1"/>
          </p:cNvSpPr>
          <p:nvPr/>
        </p:nvSpPr>
        <p:spPr bwMode="auto">
          <a:xfrm flipV="1">
            <a:off x="382588" y="6981825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auto">
          <a:xfrm>
            <a:off x="73025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55" tIns="48328" rIns="96655" bIns="48328" anchor="b"/>
          <a:lstStyle/>
          <a:p>
            <a:pPr defTabSz="966788">
              <a:spcAft>
                <a:spcPct val="30000"/>
              </a:spcAft>
              <a:defRPr/>
            </a:pPr>
            <a:fld id="{02688FA0-F95F-42AD-BC10-DDAE054FC5DF}" type="slidenum">
              <a:rPr lang="en-US" sz="900">
                <a:solidFill>
                  <a:srgbClr val="BFBFBF"/>
                </a:solidFill>
                <a:latin typeface="Arial" pitchFamily="34" charset="0"/>
              </a:rPr>
              <a:pPr defTabSz="966788">
                <a:spcAft>
                  <a:spcPct val="30000"/>
                </a:spcAft>
                <a:defRPr/>
              </a:pPr>
              <a:t>‹#›</a:t>
            </a:fld>
            <a:endParaRPr lang="en-US" sz="9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0" name="Text Placeholder 10"/>
          <p:cNvSpPr txBox="1">
            <a:spLocks/>
          </p:cNvSpPr>
          <p:nvPr/>
        </p:nvSpPr>
        <p:spPr>
          <a:xfrm>
            <a:off x="379413" y="7007225"/>
            <a:ext cx="1343025" cy="234950"/>
          </a:xfrm>
          <a:prstGeom prst="rect">
            <a:avLst/>
          </a:prstGeom>
        </p:spPr>
        <p:txBody>
          <a:bodyPr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2575" indent="-282575" defTabSz="966788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1" name="Footer Placeholder 10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8" y="6864350"/>
            <a:ext cx="5840412" cy="3254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z="1400" dirty="0">
                <a:solidFill>
                  <a:srgbClr val="000000"/>
                </a:solidFill>
              </a:rPr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27582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8" y="0"/>
            <a:ext cx="8963025" cy="10556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549400"/>
            <a:ext cx="8686800" cy="2078038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30028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50951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90708_cvr_03_C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163638"/>
            <a:ext cx="9601200" cy="615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9"/>
          <p:cNvSpPr/>
          <p:nvPr/>
        </p:nvSpPr>
        <p:spPr>
          <a:xfrm>
            <a:off x="680719" y="6535797"/>
            <a:ext cx="1189815" cy="230065"/>
          </a:xfrm>
          <a:prstGeom prst="rect">
            <a:avLst/>
          </a:prstGeom>
        </p:spPr>
        <p:txBody>
          <a:bodyPr wrap="none" lIns="90679" tIns="45340" rIns="90679" bIns="4534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</a:rPr>
              <a:t>Fidelity Confidential</a:t>
            </a: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Picture 13" descr="Fidelity_TurnHere_BW_tran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99176" y="6054845"/>
            <a:ext cx="2286000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3" y="1439863"/>
            <a:ext cx="8509000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21" y="2074864"/>
            <a:ext cx="8578850" cy="661680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832" y="4810245"/>
            <a:ext cx="3452523" cy="374599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3" y="380634"/>
            <a:ext cx="2255734" cy="256139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57496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928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8" y="4"/>
            <a:ext cx="8963025" cy="10556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2" y="1549409"/>
            <a:ext cx="8686800" cy="466926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864711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641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39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6054726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2" y="1439864"/>
            <a:ext cx="8509001" cy="561975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443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2200" b="1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7" y="6827838"/>
            <a:ext cx="5842001" cy="323850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1161592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9014916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9354310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4290243"/>
            <a:ext cx="8161338" cy="4103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9" indent="0">
              <a:buNone/>
              <a:defRPr sz="1800"/>
            </a:lvl2pPr>
            <a:lvl3pPr marL="914319" indent="0">
              <a:buNone/>
              <a:defRPr sz="1600"/>
            </a:lvl3pPr>
            <a:lvl4pPr marL="1371477" indent="0">
              <a:buNone/>
              <a:defRPr sz="1400"/>
            </a:lvl4pPr>
            <a:lvl5pPr marL="1828637" indent="0">
              <a:buNone/>
              <a:defRPr sz="1400"/>
            </a:lvl5pPr>
            <a:lvl6pPr marL="2285796" indent="0">
              <a:buNone/>
              <a:defRPr sz="1400"/>
            </a:lvl6pPr>
            <a:lvl7pPr marL="2742956" indent="0">
              <a:buNone/>
              <a:defRPr sz="1400"/>
            </a:lvl7pPr>
            <a:lvl8pPr marL="3200114" indent="0">
              <a:buNone/>
              <a:defRPr sz="1400"/>
            </a:lvl8pPr>
            <a:lvl9pPr marL="365727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00534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1390139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263650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5170202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65796"/>
            <a:ext cx="4243388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9"/>
            <a:ext cx="4243388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1465796"/>
            <a:ext cx="4244975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9" indent="0">
              <a:buNone/>
              <a:defRPr sz="2000" b="1"/>
            </a:lvl2pPr>
            <a:lvl3pPr marL="914319" indent="0">
              <a:buNone/>
              <a:defRPr sz="1800" b="1"/>
            </a:lvl3pPr>
            <a:lvl4pPr marL="1371477" indent="0">
              <a:buNone/>
              <a:defRPr sz="1600" b="1"/>
            </a:lvl4pPr>
            <a:lvl5pPr marL="1828637" indent="0">
              <a:buNone/>
              <a:defRPr sz="1600" b="1"/>
            </a:lvl5pPr>
            <a:lvl6pPr marL="2285796" indent="0">
              <a:buNone/>
              <a:defRPr sz="1600" b="1"/>
            </a:lvl6pPr>
            <a:lvl7pPr marL="2742956" indent="0">
              <a:buNone/>
              <a:defRPr sz="1600" b="1"/>
            </a:lvl7pPr>
            <a:lvl8pPr marL="3200114" indent="0">
              <a:buNone/>
              <a:defRPr sz="1600" b="1"/>
            </a:lvl8pPr>
            <a:lvl9pPr marL="365727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2319339"/>
            <a:ext cx="4244975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2089069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197015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475616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0515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3"/>
            <a:ext cx="5367338" cy="299402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6" y="1530350"/>
            <a:ext cx="3159125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242946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590908"/>
          </a:xfrm>
        </p:spPr>
        <p:txBody>
          <a:bodyPr/>
          <a:lstStyle>
            <a:lvl1pPr marL="0" indent="0">
              <a:buNone/>
              <a:defRPr sz="3200"/>
            </a:lvl1pPr>
            <a:lvl2pPr marL="457159" indent="0">
              <a:buNone/>
              <a:defRPr sz="2700"/>
            </a:lvl2pPr>
            <a:lvl3pPr marL="914319" indent="0">
              <a:buNone/>
              <a:defRPr sz="2400"/>
            </a:lvl3pPr>
            <a:lvl4pPr marL="1371477" indent="0">
              <a:buNone/>
              <a:defRPr sz="2000"/>
            </a:lvl4pPr>
            <a:lvl5pPr marL="1828637" indent="0">
              <a:buNone/>
              <a:defRPr sz="2000"/>
            </a:lvl5pPr>
            <a:lvl6pPr marL="2285796" indent="0">
              <a:buNone/>
              <a:defRPr sz="2000"/>
            </a:lvl6pPr>
            <a:lvl7pPr marL="2742956" indent="0">
              <a:buNone/>
              <a:defRPr sz="2000"/>
            </a:lvl7pPr>
            <a:lvl8pPr marL="3200114" indent="0">
              <a:buNone/>
              <a:defRPr sz="2000"/>
            </a:lvl8pPr>
            <a:lvl9pPr marL="365727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25"/>
            <a:ext cx="5761037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29760423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49384" y="1263651"/>
            <a:ext cx="4651766" cy="1247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2550629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0" y="1"/>
            <a:ext cx="2239963" cy="2511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84973" y="1"/>
            <a:ext cx="1604778" cy="2511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981041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1"/>
            <a:ext cx="4267200" cy="126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4255205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143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33950" y="1263650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143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3950" y="1963739"/>
            <a:ext cx="4267200" cy="1254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7413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74690836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8963025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3651"/>
            <a:ext cx="8686800" cy="344686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1643666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44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626535" y="6535767"/>
            <a:ext cx="1298089" cy="24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111" tIns="45556" rIns="91111" bIns="45556">
            <a:spAutoFit/>
          </a:bodyPr>
          <a:lstStyle/>
          <a:p>
            <a:pPr algn="ctr">
              <a:defRPr/>
            </a:pPr>
            <a:r>
              <a:rPr lang="en-US" sz="1000" dirty="0">
                <a:solidFill>
                  <a:srgbClr val="7F7F7F"/>
                </a:solidFill>
              </a:rPr>
              <a:t>Fidelity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" name="Picture 13" descr="Fidelity_TurnHere_BW_trans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9187" y="6054767"/>
            <a:ext cx="2286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2" y="1439869"/>
            <a:ext cx="8509001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662897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754" y="4810167"/>
            <a:ext cx="3452523" cy="374599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3" y="380672"/>
            <a:ext cx="2255734" cy="241477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021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44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6054731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2" y="1439869"/>
            <a:ext cx="8509001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72"/>
            <a:ext cx="8578850" cy="646482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600" b="1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369887" y="6827838"/>
            <a:ext cx="5842001" cy="3238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6664" tIns="43333" rIns="86664" bIns="43333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spcAft>
                <a:spcPct val="30000"/>
              </a:spcAft>
              <a:defRPr sz="1000">
                <a:solidFill>
                  <a:srgbClr val="808080"/>
                </a:solidFill>
                <a:latin typeface="Arial" charset="0"/>
                <a:ea typeface="ＭＳ Ｐゴシック" pitchFamily="28" charset="-128"/>
              </a:defRPr>
            </a:lvl1pPr>
          </a:lstStyle>
          <a:p>
            <a:pPr>
              <a:defRPr/>
            </a:pPr>
            <a:r>
              <a:rPr lang="en-US" altLang="en-US" dirty="0"/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444904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0702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700588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4300338"/>
            <a:ext cx="8161338" cy="400261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52" indent="0">
              <a:buNone/>
              <a:defRPr sz="1800"/>
            </a:lvl2pPr>
            <a:lvl3pPr marL="913505" indent="0">
              <a:buNone/>
              <a:defRPr sz="1600"/>
            </a:lvl3pPr>
            <a:lvl4pPr marL="1370255" indent="0">
              <a:buNone/>
              <a:defRPr sz="1400"/>
            </a:lvl4pPr>
            <a:lvl5pPr marL="1827009" indent="0">
              <a:buNone/>
              <a:defRPr sz="1400"/>
            </a:lvl5pPr>
            <a:lvl6pPr marL="2283761" indent="0">
              <a:buNone/>
              <a:defRPr sz="1400"/>
            </a:lvl6pPr>
            <a:lvl7pPr marL="2740512" indent="0">
              <a:buNone/>
              <a:defRPr sz="1400"/>
            </a:lvl7pPr>
            <a:lvl8pPr marL="3197264" indent="0">
              <a:buNone/>
              <a:defRPr sz="1400"/>
            </a:lvl8pPr>
            <a:lvl9pPr marL="365401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367822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549400"/>
            <a:ext cx="4267200" cy="260804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549400"/>
            <a:ext cx="4267200" cy="260804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53610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35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75891"/>
            <a:ext cx="4243388" cy="84345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52" indent="0">
              <a:buNone/>
              <a:defRPr sz="2000" b="1"/>
            </a:lvl2pPr>
            <a:lvl3pPr marL="913505" indent="0">
              <a:buNone/>
              <a:defRPr sz="1800" b="1"/>
            </a:lvl3pPr>
            <a:lvl4pPr marL="1370255" indent="0">
              <a:buNone/>
              <a:defRPr sz="1600" b="1"/>
            </a:lvl4pPr>
            <a:lvl5pPr marL="1827009" indent="0">
              <a:buNone/>
              <a:defRPr sz="1600" b="1"/>
            </a:lvl5pPr>
            <a:lvl6pPr marL="2283761" indent="0">
              <a:buNone/>
              <a:defRPr sz="1600" b="1"/>
            </a:lvl6pPr>
            <a:lvl7pPr marL="2740512" indent="0">
              <a:buNone/>
              <a:defRPr sz="1600" b="1"/>
            </a:lvl7pPr>
            <a:lvl8pPr marL="3197264" indent="0">
              <a:buNone/>
              <a:defRPr sz="1600" b="1"/>
            </a:lvl8pPr>
            <a:lvl9pPr marL="365401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38"/>
            <a:ext cx="4243388" cy="22912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11" y="1475891"/>
            <a:ext cx="4244975" cy="84345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52" indent="0">
              <a:buNone/>
              <a:defRPr sz="2000" b="1"/>
            </a:lvl2pPr>
            <a:lvl3pPr marL="913505" indent="0">
              <a:buNone/>
              <a:defRPr sz="1800" b="1"/>
            </a:lvl3pPr>
            <a:lvl4pPr marL="1370255" indent="0">
              <a:buNone/>
              <a:defRPr sz="1600" b="1"/>
            </a:lvl4pPr>
            <a:lvl5pPr marL="1827009" indent="0">
              <a:buNone/>
              <a:defRPr sz="1600" b="1"/>
            </a:lvl5pPr>
            <a:lvl6pPr marL="2283761" indent="0">
              <a:buNone/>
              <a:defRPr sz="1600" b="1"/>
            </a:lvl6pPr>
            <a:lvl7pPr marL="2740512" indent="0">
              <a:buNone/>
              <a:defRPr sz="1600" b="1"/>
            </a:lvl7pPr>
            <a:lvl8pPr marL="3197264" indent="0">
              <a:buNone/>
              <a:defRPr sz="1600" b="1"/>
            </a:lvl8pPr>
            <a:lvl9pPr marL="365401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11" y="2319338"/>
            <a:ext cx="4244975" cy="22912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9278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5516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49734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35" y="290525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25"/>
            <a:ext cx="5367338" cy="298394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35" y="1530354"/>
            <a:ext cx="3159125" cy="301773"/>
          </a:xfrm>
        </p:spPr>
        <p:txBody>
          <a:bodyPr/>
          <a:lstStyle>
            <a:lvl1pPr marL="0" indent="0">
              <a:buNone/>
              <a:defRPr sz="1400"/>
            </a:lvl1pPr>
            <a:lvl2pPr marL="456752" indent="0">
              <a:buNone/>
              <a:defRPr sz="1200"/>
            </a:lvl2pPr>
            <a:lvl3pPr marL="913505" indent="0">
              <a:buNone/>
              <a:defRPr sz="1000"/>
            </a:lvl3pPr>
            <a:lvl4pPr marL="1370255" indent="0">
              <a:buNone/>
              <a:defRPr sz="1000"/>
            </a:lvl4pPr>
            <a:lvl5pPr marL="1827009" indent="0">
              <a:buNone/>
              <a:defRPr sz="1000"/>
            </a:lvl5pPr>
            <a:lvl6pPr marL="2283761" indent="0">
              <a:buNone/>
              <a:defRPr sz="1000"/>
            </a:lvl6pPr>
            <a:lvl7pPr marL="2740512" indent="0">
              <a:buNone/>
              <a:defRPr sz="1000"/>
            </a:lvl7pPr>
            <a:lvl8pPr marL="3197264" indent="0">
              <a:buNone/>
              <a:defRPr sz="1000"/>
            </a:lvl8pPr>
            <a:lvl9pPr marL="365401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1175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0515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3"/>
            <a:ext cx="5367338" cy="299402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6" y="1530350"/>
            <a:ext cx="3159125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788187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580823"/>
          </a:xfrm>
        </p:spPr>
        <p:txBody>
          <a:bodyPr/>
          <a:lstStyle>
            <a:lvl1pPr marL="0" indent="0">
              <a:buNone/>
              <a:defRPr sz="3200"/>
            </a:lvl1pPr>
            <a:lvl2pPr marL="456752" indent="0">
              <a:buNone/>
              <a:defRPr sz="2700"/>
            </a:lvl2pPr>
            <a:lvl3pPr marL="913505" indent="0">
              <a:buNone/>
              <a:defRPr sz="2400"/>
            </a:lvl3pPr>
            <a:lvl4pPr marL="1370255" indent="0">
              <a:buNone/>
              <a:defRPr sz="2000"/>
            </a:lvl4pPr>
            <a:lvl5pPr marL="1827009" indent="0">
              <a:buNone/>
              <a:defRPr sz="2000"/>
            </a:lvl5pPr>
            <a:lvl6pPr marL="2283761" indent="0">
              <a:buNone/>
              <a:defRPr sz="2000"/>
            </a:lvl6pPr>
            <a:lvl7pPr marL="2740512" indent="0">
              <a:buNone/>
              <a:defRPr sz="2000"/>
            </a:lvl7pPr>
            <a:lvl8pPr marL="3197264" indent="0">
              <a:buNone/>
              <a:defRPr sz="2000"/>
            </a:lvl8pPr>
            <a:lvl9pPr marL="3654016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30"/>
            <a:ext cx="5761037" cy="301773"/>
          </a:xfrm>
        </p:spPr>
        <p:txBody>
          <a:bodyPr/>
          <a:lstStyle>
            <a:lvl1pPr marL="0" indent="0">
              <a:buNone/>
              <a:defRPr sz="1400"/>
            </a:lvl1pPr>
            <a:lvl2pPr marL="456752" indent="0">
              <a:buNone/>
              <a:defRPr sz="1200"/>
            </a:lvl2pPr>
            <a:lvl3pPr marL="913505" indent="0">
              <a:buNone/>
              <a:defRPr sz="1000"/>
            </a:lvl3pPr>
            <a:lvl4pPr marL="1370255" indent="0">
              <a:buNone/>
              <a:defRPr sz="1000"/>
            </a:lvl4pPr>
            <a:lvl5pPr marL="1827009" indent="0">
              <a:buNone/>
              <a:defRPr sz="1000"/>
            </a:lvl5pPr>
            <a:lvl6pPr marL="2283761" indent="0">
              <a:buNone/>
              <a:defRPr sz="1000"/>
            </a:lvl6pPr>
            <a:lvl7pPr marL="2740512" indent="0">
              <a:buNone/>
              <a:defRPr sz="1000"/>
            </a:lvl7pPr>
            <a:lvl8pPr marL="3197264" indent="0">
              <a:buNone/>
              <a:defRPr sz="1000"/>
            </a:lvl8pPr>
            <a:lvl9pPr marL="365401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483386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17045" y="1549407"/>
            <a:ext cx="5284112" cy="20269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06216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2150" y="12"/>
            <a:ext cx="2239963" cy="34956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98745" y="12"/>
            <a:ext cx="2391012" cy="34956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1337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8" y="4"/>
            <a:ext cx="8963025" cy="105568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549407"/>
            <a:ext cx="4267200" cy="2026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549407"/>
            <a:ext cx="4267200" cy="2026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67903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290" name="Picture 2" descr="90708_cvr_03_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163638"/>
            <a:ext cx="9601200" cy="6151562"/>
          </a:xfrm>
          <a:prstGeom prst="rect">
            <a:avLst/>
          </a:prstGeom>
          <a:noFill/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3" y="1439869"/>
            <a:ext cx="8509000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64"/>
            <a:ext cx="8578850" cy="677698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140293" name="Picture 5" descr="Fid_Turn_Here_Blk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3150" y="6054731"/>
            <a:ext cx="2217738" cy="790575"/>
          </a:xfrm>
          <a:prstGeom prst="rect">
            <a:avLst/>
          </a:prstGeom>
          <a:noFill/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718" y="4810126"/>
            <a:ext cx="3452523" cy="381924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3" y="380634"/>
            <a:ext cx="2255734" cy="258685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79677" y="6535671"/>
            <a:ext cx="1191353" cy="230832"/>
          </a:xfrm>
          <a:prstGeom prst="rect">
            <a:avLst/>
          </a:prstGeom>
        </p:spPr>
        <p:txBody>
          <a:bodyPr wrap="none" lIns="91361" tIns="45680" rIns="91361" bIns="45680">
            <a:spAutoFit/>
          </a:bodyPr>
          <a:lstStyle/>
          <a:p>
            <a:pPr algn="ctr"/>
            <a:r>
              <a:rPr lang="en-US" sz="900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437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179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90708_cvr_03_C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163651"/>
            <a:ext cx="9601200" cy="615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9"/>
          <p:cNvSpPr/>
          <p:nvPr/>
        </p:nvSpPr>
        <p:spPr>
          <a:xfrm>
            <a:off x="626572" y="6535767"/>
            <a:ext cx="1298037" cy="245866"/>
          </a:xfrm>
          <a:prstGeom prst="rect">
            <a:avLst/>
          </a:prstGeom>
        </p:spPr>
        <p:txBody>
          <a:bodyPr wrap="none" lIns="91085" tIns="45544" rIns="91085" bIns="45544">
            <a:spAutoFit/>
          </a:bodyPr>
          <a:lstStyle/>
          <a:p>
            <a:pPr algn="ctr">
              <a:defRPr/>
            </a:pPr>
            <a:r>
              <a:rPr lang="en-US" sz="1000" dirty="0">
                <a:solidFill>
                  <a:srgbClr val="7F7F7F"/>
                </a:solidFill>
                <a:latin typeface="Arial" pitchFamily="34" charset="0"/>
              </a:rPr>
              <a:t>Fidelity Confidential</a:t>
            </a: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Picture 13" descr="Fidelity_TurnHere_BW_tran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99187" y="6054791"/>
            <a:ext cx="2286000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20712" y="1439877"/>
            <a:ext cx="8509001" cy="56197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3" y="2074882"/>
            <a:ext cx="8578850" cy="666613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3700" b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0741" y="4810137"/>
            <a:ext cx="3452523" cy="374225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0715" y="380639"/>
            <a:ext cx="2255734" cy="251115"/>
          </a:xfrm>
        </p:spPr>
        <p:txBody>
          <a:bodyPr/>
          <a:lstStyle>
            <a:lvl1pPr marL="0" indent="0">
              <a:buNone/>
              <a:defRPr sz="1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49307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40728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99" y="12"/>
            <a:ext cx="8963025" cy="10556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549451"/>
            <a:ext cx="8686800" cy="466558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562483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822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5121275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54050"/>
            <a:ext cx="5761037" cy="590908"/>
          </a:xfrm>
        </p:spPr>
        <p:txBody>
          <a:bodyPr/>
          <a:lstStyle>
            <a:lvl1pPr marL="0" indent="0">
              <a:buNone/>
              <a:defRPr sz="3200"/>
            </a:lvl1pPr>
            <a:lvl2pPr marL="457159" indent="0">
              <a:buNone/>
              <a:defRPr sz="2700"/>
            </a:lvl2pPr>
            <a:lvl3pPr marL="914319" indent="0">
              <a:buNone/>
              <a:defRPr sz="2400"/>
            </a:lvl3pPr>
            <a:lvl4pPr marL="1371477" indent="0">
              <a:buNone/>
              <a:defRPr sz="2000"/>
            </a:lvl4pPr>
            <a:lvl5pPr marL="1828637" indent="0">
              <a:buNone/>
              <a:defRPr sz="2000"/>
            </a:lvl5pPr>
            <a:lvl6pPr marL="2285796" indent="0">
              <a:buNone/>
              <a:defRPr sz="2000"/>
            </a:lvl6pPr>
            <a:lvl7pPr marL="2742956" indent="0">
              <a:buNone/>
              <a:defRPr sz="2000"/>
            </a:lvl7pPr>
            <a:lvl8pPr marL="3200114" indent="0">
              <a:buNone/>
              <a:defRPr sz="2000"/>
            </a:lvl8pPr>
            <a:lvl9pPr marL="365727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724525"/>
            <a:ext cx="5761037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159" indent="0">
              <a:buNone/>
              <a:defRPr sz="1200"/>
            </a:lvl2pPr>
            <a:lvl3pPr marL="914319" indent="0">
              <a:buNone/>
              <a:defRPr sz="1000"/>
            </a:lvl3pPr>
            <a:lvl4pPr marL="1371477" indent="0">
              <a:buNone/>
              <a:defRPr sz="1000"/>
            </a:lvl4pPr>
            <a:lvl5pPr marL="1828637" indent="0">
              <a:buNone/>
              <a:defRPr sz="1000"/>
            </a:lvl5pPr>
            <a:lvl6pPr marL="2285796" indent="0">
              <a:buNone/>
              <a:defRPr sz="1000"/>
            </a:lvl6pPr>
            <a:lvl7pPr marL="2742956" indent="0">
              <a:buNone/>
              <a:defRPr sz="1000"/>
            </a:lvl7pPr>
            <a:lvl8pPr marL="3200114" indent="0">
              <a:buNone/>
              <a:defRPr sz="1000"/>
            </a:lvl8pPr>
            <a:lvl9pPr marL="36572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41230252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90708_cvr_03_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40"/>
            <a:ext cx="9601200" cy="615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Fid_Turn_Here_Bl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2" y="6054730"/>
            <a:ext cx="221773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6115" y="1439865"/>
            <a:ext cx="8509001" cy="561975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20716" y="2074864"/>
            <a:ext cx="8578850" cy="44317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Aft>
                <a:spcPct val="0"/>
              </a:spcAft>
              <a:buFont typeface="Wingdings 3" pitchFamily="18" charset="2"/>
              <a:buNone/>
              <a:defRPr sz="2200" b="1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69888" y="6827841"/>
            <a:ext cx="5842001" cy="323850"/>
          </a:xfrm>
        </p:spPr>
        <p:txBody>
          <a:bodyPr anchor="t"/>
          <a:lstStyle>
            <a:lvl1pPr>
              <a:spcAft>
                <a:spcPct val="30000"/>
              </a:spcAft>
              <a:defRPr/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8563489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5"/>
            <a:ext cx="9014916" cy="8286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43066572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8" y="4700591"/>
            <a:ext cx="8161338" cy="14525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8" y="4290247"/>
            <a:ext cx="8161338" cy="41034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23" indent="0">
              <a:buNone/>
              <a:defRPr sz="1800"/>
            </a:lvl2pPr>
            <a:lvl3pPr marL="914045" indent="0">
              <a:buNone/>
              <a:defRPr sz="1600"/>
            </a:lvl3pPr>
            <a:lvl4pPr marL="1371067" indent="0">
              <a:buNone/>
              <a:defRPr sz="1400"/>
            </a:lvl4pPr>
            <a:lvl5pPr marL="1828090" indent="0">
              <a:buNone/>
              <a:defRPr sz="1400"/>
            </a:lvl5pPr>
            <a:lvl6pPr marL="2285111" indent="0">
              <a:buNone/>
              <a:defRPr sz="1400"/>
            </a:lvl6pPr>
            <a:lvl7pPr marL="2742134" indent="0">
              <a:buNone/>
              <a:defRPr sz="1400"/>
            </a:lvl7pPr>
            <a:lvl8pPr marL="3199157" indent="0">
              <a:buNone/>
              <a:defRPr sz="1400"/>
            </a:lvl8pPr>
            <a:lvl9pPr marL="3656177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65721482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3653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3950" y="1263653"/>
            <a:ext cx="4267200" cy="261812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911782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6" y="293689"/>
            <a:ext cx="8642351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65800"/>
            <a:ext cx="4243388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3" indent="0">
              <a:buNone/>
              <a:defRPr sz="2000" b="1"/>
            </a:lvl2pPr>
            <a:lvl3pPr marL="914045" indent="0">
              <a:buNone/>
              <a:defRPr sz="1800" b="1"/>
            </a:lvl3pPr>
            <a:lvl4pPr marL="1371067" indent="0">
              <a:buNone/>
              <a:defRPr sz="1600" b="1"/>
            </a:lvl4pPr>
            <a:lvl5pPr marL="1828090" indent="0">
              <a:buNone/>
              <a:defRPr sz="1600" b="1"/>
            </a:lvl5pPr>
            <a:lvl6pPr marL="2285111" indent="0">
              <a:buNone/>
              <a:defRPr sz="1600" b="1"/>
            </a:lvl6pPr>
            <a:lvl7pPr marL="2742134" indent="0">
              <a:buNone/>
              <a:defRPr sz="1600" b="1"/>
            </a:lvl7pPr>
            <a:lvl8pPr marL="3199157" indent="0">
              <a:buNone/>
              <a:defRPr sz="1600" b="1"/>
            </a:lvl8pPr>
            <a:lvl9pPr marL="365617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319342"/>
            <a:ext cx="4243388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5" y="1465800"/>
            <a:ext cx="4244975" cy="85354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3" indent="0">
              <a:buNone/>
              <a:defRPr sz="2000" b="1"/>
            </a:lvl2pPr>
            <a:lvl3pPr marL="914045" indent="0">
              <a:buNone/>
              <a:defRPr sz="1800" b="1"/>
            </a:lvl3pPr>
            <a:lvl4pPr marL="1371067" indent="0">
              <a:buNone/>
              <a:defRPr sz="1600" b="1"/>
            </a:lvl4pPr>
            <a:lvl5pPr marL="1828090" indent="0">
              <a:buNone/>
              <a:defRPr sz="1600" b="1"/>
            </a:lvl5pPr>
            <a:lvl6pPr marL="2285111" indent="0">
              <a:buNone/>
              <a:defRPr sz="1600" b="1"/>
            </a:lvl6pPr>
            <a:lvl7pPr marL="2742134" indent="0">
              <a:buNone/>
              <a:defRPr sz="1600" b="1"/>
            </a:lvl7pPr>
            <a:lvl8pPr marL="3199157" indent="0">
              <a:buNone/>
              <a:defRPr sz="1600" b="1"/>
            </a:lvl8pPr>
            <a:lvl9pPr marL="365617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5" y="2319342"/>
            <a:ext cx="4244975" cy="23013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4041186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2322845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5637650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7" y="290519"/>
            <a:ext cx="3159125" cy="12398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90514"/>
            <a:ext cx="5367338" cy="2994027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7" y="1530354"/>
            <a:ext cx="3159125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023" indent="0">
              <a:buNone/>
              <a:defRPr sz="1200"/>
            </a:lvl2pPr>
            <a:lvl3pPr marL="914045" indent="0">
              <a:buNone/>
              <a:defRPr sz="1000"/>
            </a:lvl3pPr>
            <a:lvl4pPr marL="1371067" indent="0">
              <a:buNone/>
              <a:defRPr sz="1000"/>
            </a:lvl4pPr>
            <a:lvl5pPr marL="1828090" indent="0">
              <a:buNone/>
              <a:defRPr sz="1000"/>
            </a:lvl5pPr>
            <a:lvl6pPr marL="2285111" indent="0">
              <a:buNone/>
              <a:defRPr sz="1000"/>
            </a:lvl6pPr>
            <a:lvl7pPr marL="2742134" indent="0">
              <a:buNone/>
              <a:defRPr sz="1000"/>
            </a:lvl7pPr>
            <a:lvl8pPr marL="3199157" indent="0">
              <a:buNone/>
              <a:defRPr sz="1000"/>
            </a:lvl8pPr>
            <a:lvl9pPr marL="365617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09243670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9" y="5121278"/>
            <a:ext cx="5761037" cy="603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9" y="654050"/>
            <a:ext cx="5761037" cy="590908"/>
          </a:xfrm>
        </p:spPr>
        <p:txBody>
          <a:bodyPr/>
          <a:lstStyle>
            <a:lvl1pPr marL="0" indent="0">
              <a:buNone/>
              <a:defRPr sz="3200"/>
            </a:lvl1pPr>
            <a:lvl2pPr marL="457023" indent="0">
              <a:buNone/>
              <a:defRPr sz="2700"/>
            </a:lvl2pPr>
            <a:lvl3pPr marL="914045" indent="0">
              <a:buNone/>
              <a:defRPr sz="2400"/>
            </a:lvl3pPr>
            <a:lvl4pPr marL="1371067" indent="0">
              <a:buNone/>
              <a:defRPr sz="2000"/>
            </a:lvl4pPr>
            <a:lvl5pPr marL="1828090" indent="0">
              <a:buNone/>
              <a:defRPr sz="2000"/>
            </a:lvl5pPr>
            <a:lvl6pPr marL="2285111" indent="0">
              <a:buNone/>
              <a:defRPr sz="2000"/>
            </a:lvl6pPr>
            <a:lvl7pPr marL="2742134" indent="0">
              <a:buNone/>
              <a:defRPr sz="2000"/>
            </a:lvl7pPr>
            <a:lvl8pPr marL="3199157" indent="0">
              <a:buNone/>
              <a:defRPr sz="2000"/>
            </a:lvl8pPr>
            <a:lvl9pPr marL="3656177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9" y="5724526"/>
            <a:ext cx="5761037" cy="311857"/>
          </a:xfrm>
        </p:spPr>
        <p:txBody>
          <a:bodyPr/>
          <a:lstStyle>
            <a:lvl1pPr marL="0" indent="0">
              <a:buNone/>
              <a:defRPr sz="1400"/>
            </a:lvl1pPr>
            <a:lvl2pPr marL="457023" indent="0">
              <a:buNone/>
              <a:defRPr sz="1200"/>
            </a:lvl2pPr>
            <a:lvl3pPr marL="914045" indent="0">
              <a:buNone/>
              <a:defRPr sz="1000"/>
            </a:lvl3pPr>
            <a:lvl4pPr marL="1371067" indent="0">
              <a:buNone/>
              <a:defRPr sz="1000"/>
            </a:lvl4pPr>
            <a:lvl5pPr marL="1828090" indent="0">
              <a:buNone/>
              <a:defRPr sz="1000"/>
            </a:lvl5pPr>
            <a:lvl6pPr marL="2285111" indent="0">
              <a:buNone/>
              <a:defRPr sz="1000"/>
            </a:lvl6pPr>
            <a:lvl7pPr marL="2742134" indent="0">
              <a:buNone/>
              <a:defRPr sz="1000"/>
            </a:lvl7pPr>
            <a:lvl8pPr marL="3199157" indent="0">
              <a:buNone/>
              <a:defRPr sz="1000"/>
            </a:lvl8pPr>
            <a:lvl9pPr marL="365617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9814073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49444" y="1263655"/>
            <a:ext cx="4651708" cy="1247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0587790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1.jpe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7" Type="http://schemas.openxmlformats.org/officeDocument/2006/relationships/image" Target="../media/image4.wmf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9.png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88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.jpe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4.w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99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image" Target="../media/image17.png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image" Target="../media/image16.jpeg"/><Relationship Id="rId2" Type="http://schemas.openxmlformats.org/officeDocument/2006/relationships/slideLayout" Target="../slideLayouts/slideLayout105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113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19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theme" Target="../theme/theme15.xml"/><Relationship Id="rId10" Type="http://schemas.openxmlformats.org/officeDocument/2006/relationships/slideLayout" Target="../slideLayouts/slideLayout127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4.wmf"/><Relationship Id="rId4" Type="http://schemas.openxmlformats.org/officeDocument/2006/relationships/tags" Target="../tags/tag1.xml"/><Relationship Id="rId9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theme" Target="../theme/theme4.xml"/><Relationship Id="rId5" Type="http://schemas.openxmlformats.org/officeDocument/2006/relationships/image" Target="../media/image4.wmf"/><Relationship Id="rId4" Type="http://schemas.openxmlformats.org/officeDocument/2006/relationships/image" Target="../media/image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4.wmf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image" Target="../media/image4.wmf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50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52.xml"/><Relationship Id="rId10" Type="http://schemas.openxmlformats.org/officeDocument/2006/relationships/image" Target="../media/image4.wmf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9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1.jpe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4.w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9.xml"/><Relationship Id="rId20" Type="http://schemas.openxmlformats.org/officeDocument/2006/relationships/image" Target="../media/image4.wmf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69900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1"/>
            <a:ext cx="96012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9" y="1"/>
            <a:ext cx="89630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3651"/>
            <a:ext cx="8686800" cy="12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741363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325" y="6954838"/>
            <a:ext cx="1368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7" y="7085014"/>
            <a:ext cx="5842001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b" anchorCtr="0" compatLnSpc="1">
            <a:prstTxWarp prst="textNoShape">
              <a:avLst/>
            </a:prstTxWarp>
          </a:bodyPr>
          <a:lstStyle>
            <a:lvl1pPr defTabSz="966702" eaLnBrk="0" hangingPunct="0"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82589" y="7113589"/>
            <a:ext cx="0" cy="16192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73026" y="7080251"/>
            <a:ext cx="339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37" tIns="48319" rIns="96637" bIns="48319" anchor="b"/>
          <a:lstStyle/>
          <a:p>
            <a:pPr defTabSz="966702"/>
            <a:fld id="{53BFF9C3-F274-49E2-B65B-927A666BDDCC}" type="slidenum">
              <a:rPr lang="en-US" sz="1000">
                <a:solidFill>
                  <a:schemeClr val="bg2"/>
                </a:solidFill>
              </a:rPr>
              <a:pPr defTabSz="966702"/>
              <a:t>‹#›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42" r:id="rId1"/>
    <p:sldLayoutId id="2147485218" r:id="rId2"/>
    <p:sldLayoutId id="2147485219" r:id="rId3"/>
    <p:sldLayoutId id="2147485220" r:id="rId4"/>
    <p:sldLayoutId id="2147485221" r:id="rId5"/>
    <p:sldLayoutId id="2147485222" r:id="rId6"/>
    <p:sldLayoutId id="2147485223" r:id="rId7"/>
    <p:sldLayoutId id="2147485224" r:id="rId8"/>
    <p:sldLayoutId id="2147485225" r:id="rId9"/>
    <p:sldLayoutId id="2147485226" r:id="rId10"/>
    <p:sldLayoutId id="2147485227" r:id="rId11"/>
    <p:sldLayoutId id="2147485228" r:id="rId12"/>
    <p:sldLayoutId id="2147485229" r:id="rId13"/>
    <p:sldLayoutId id="2147485230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2pPr>
      <a:lvl3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3pPr>
      <a:lvl4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4pPr>
      <a:lvl5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5pPr>
      <a:lvl6pPr marL="45715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6pPr>
      <a:lvl7pPr marL="91431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7pPr>
      <a:lvl8pPr marL="137147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8pPr>
      <a:lvl9pPr marL="182863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9pPr>
    </p:titleStyle>
    <p:bodyStyle>
      <a:lvl1pPr marL="228580" indent="-22858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17479" indent="-17461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800029" indent="-169847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charset="0"/>
        <a:buChar char="–"/>
        <a:defRPr sz="1200">
          <a:solidFill>
            <a:srgbClr val="000000"/>
          </a:solidFill>
          <a:latin typeface="+mn-lt"/>
        </a:defRPr>
      </a:lvl3pPr>
      <a:lvl4pPr marL="102860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1000">
          <a:solidFill>
            <a:srgbClr val="000000"/>
          </a:solidFill>
          <a:latin typeface="+mn-lt"/>
        </a:defRPr>
      </a:lvl4pPr>
      <a:lvl5pPr marL="125718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5pPr>
      <a:lvl6pPr marL="1714348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6pPr>
      <a:lvl7pPr marL="217150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7pPr>
      <a:lvl8pPr marL="262866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8pPr>
      <a:lvl9pPr marL="3085825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7"/>
            <a:ext cx="9601200" cy="673100"/>
            <a:chOff x="0" y="418"/>
            <a:chExt cx="5760" cy="397"/>
          </a:xfrm>
        </p:grpSpPr>
        <p:pic>
          <p:nvPicPr>
            <p:cNvPr id="1031" name="Picture 3" descr="Txt_DropShadow"/>
            <p:cNvPicPr preferRelativeResize="0">
              <a:picLocks noChangeAspect="1" noChangeArrowheads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5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5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5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5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5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300" b="1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39269" name="Picture 5" descr="90708_Grid"/>
          <p:cNvPicPr preferRelativeResize="0"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4" y="4"/>
            <a:ext cx="8963025" cy="1055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6664" tIns="43333" rIns="86664" bIns="4333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400"/>
            <a:ext cx="8686800" cy="202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6664" tIns="43333" rIns="86664" bIns="4333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39274" name="Picture 10" descr="New_Greendisc copy"/>
          <p:cNvPicPr preferRelativeResize="0"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979488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9208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1" r:id="rId1"/>
    <p:sldLayoutId id="2147485312" r:id="rId2"/>
    <p:sldLayoutId id="2147485313" r:id="rId3"/>
    <p:sldLayoutId id="2147485314" r:id="rId4"/>
    <p:sldLayoutId id="2147485315" r:id="rId5"/>
    <p:sldLayoutId id="2147485316" r:id="rId6"/>
    <p:sldLayoutId id="2147485317" r:id="rId7"/>
    <p:sldLayoutId id="2147485318" r:id="rId8"/>
    <p:sldLayoutId id="2147485319" r:id="rId9"/>
    <p:sldLayoutId id="2147485320" r:id="rId10"/>
    <p:sldLayoutId id="2147485321" r:id="rId11"/>
    <p:sldLayoutId id="2147485322" r:id="rId12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9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dt="0"/>
  <p:txStyles>
    <p:titleStyle>
      <a:lvl1pPr algn="l" defTabSz="964684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4684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2pPr>
      <a:lvl3pPr algn="l" defTabSz="964684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3pPr>
      <a:lvl4pPr algn="l" defTabSz="964684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4pPr>
      <a:lvl5pPr algn="l" defTabSz="964684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5pPr>
      <a:lvl6pPr marL="456752" algn="l" defTabSz="965838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6pPr>
      <a:lvl7pPr marL="913505" algn="l" defTabSz="965838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7pPr>
      <a:lvl8pPr marL="1370255" algn="l" defTabSz="965838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8pPr>
      <a:lvl9pPr marL="1827009" algn="l" defTabSz="965838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9pPr>
    </p:titleStyle>
    <p:bodyStyle>
      <a:lvl1pPr marL="318918" indent="-318918" algn="l" defTabSz="964684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2200">
          <a:solidFill>
            <a:srgbClr val="000000"/>
          </a:solidFill>
          <a:latin typeface="+mn-lt"/>
          <a:ea typeface="+mn-ea"/>
          <a:cs typeface="+mn-cs"/>
        </a:defRPr>
      </a:lvl1pPr>
      <a:lvl2pPr marL="674326" indent="-245932" algn="l" defTabSz="964684" rtl="0" eaLnBrk="0" fontAlgn="base" hangingPunct="0">
        <a:spcBef>
          <a:spcPct val="0"/>
        </a:spcBef>
        <a:spcAft>
          <a:spcPct val="30000"/>
        </a:spcAft>
        <a:buClr>
          <a:schemeClr val="folHlink"/>
        </a:buClr>
        <a:buFont typeface="Wingdings" pitchFamily="2" charset="2"/>
        <a:buChar char="§"/>
        <a:defRPr sz="2000">
          <a:solidFill>
            <a:srgbClr val="000000"/>
          </a:solidFill>
          <a:latin typeface="+mn-lt"/>
        </a:defRPr>
      </a:lvl2pPr>
      <a:lvl3pPr marL="1015454" indent="-231651" algn="l" defTabSz="964684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2000">
          <a:solidFill>
            <a:srgbClr val="000000"/>
          </a:solidFill>
          <a:latin typeface="+mn-lt"/>
        </a:defRPr>
      </a:lvl3pPr>
      <a:lvl4pPr marL="1366107" indent="-239586" algn="l" defTabSz="964684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4pPr>
      <a:lvl5pPr marL="1723104" indent="-245932" algn="l" defTabSz="964684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5pPr>
      <a:lvl6pPr marL="2180674" indent="-247407" algn="l" defTabSz="965838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6pPr>
      <a:lvl7pPr marL="2637425" indent="-247407" algn="l" defTabSz="965838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7pPr>
      <a:lvl8pPr marL="3094178" indent="-247407" algn="l" defTabSz="965838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8pPr>
      <a:lvl9pPr marL="3550931" indent="-247407" algn="l" defTabSz="965838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52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05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55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09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761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12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264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016" algn="l" defTabSz="9135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266" name="Group 2"/>
          <p:cNvGrpSpPr>
            <a:grpSpLocks/>
          </p:cNvGrpSpPr>
          <p:nvPr/>
        </p:nvGrpSpPr>
        <p:grpSpPr bwMode="auto">
          <a:xfrm>
            <a:off x="0" y="93870"/>
            <a:ext cx="9601200" cy="673100"/>
            <a:chOff x="0" y="418"/>
            <a:chExt cx="5760" cy="397"/>
          </a:xfrm>
        </p:grpSpPr>
        <p:pic>
          <p:nvPicPr>
            <p:cNvPr id="139267" name="Picture 3" descr="Txt_DropShadow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139269" name="Picture 5" descr="90708_Grid"/>
          <p:cNvPicPr>
            <a:picLocks noChangeAspect="1" noChangeArrowheads="1"/>
          </p:cNvPicPr>
          <p:nvPr/>
        </p:nvPicPr>
        <p:blipFill>
          <a:blip r:embed="rId5" cstate="print"/>
          <a:srcRect t="18718" b="61028"/>
          <a:stretch>
            <a:fillRect/>
          </a:stretch>
        </p:blipFill>
        <p:spPr bwMode="auto">
          <a:xfrm>
            <a:off x="0" y="1"/>
            <a:ext cx="9601200" cy="457676"/>
          </a:xfrm>
          <a:prstGeom prst="rect">
            <a:avLst/>
          </a:prstGeom>
          <a:noFill/>
        </p:spPr>
      </p:pic>
      <p:sp>
        <p:nvSpPr>
          <p:cNvPr id="13927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4" y="0"/>
            <a:ext cx="8963025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571" tIns="48286" rIns="96571" bIns="482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927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405"/>
            <a:ext cx="8686800" cy="2077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571" tIns="48286" rIns="96571" bIns="48286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39274" name="Picture 10" descr="New_Greendisc cop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268" y="414338"/>
            <a:ext cx="465063" cy="254677"/>
          </a:xfrm>
          <a:prstGeom prst="rect">
            <a:avLst/>
          </a:prstGeom>
          <a:noFill/>
        </p:spPr>
      </p:pic>
      <p:pic>
        <p:nvPicPr>
          <p:cNvPr id="139278" name="Picture 14" descr="Fid_Logo_Grey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542503" y="7006102"/>
            <a:ext cx="1011202" cy="26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8" y="6981831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31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571" tIns="48286" rIns="96571" bIns="48286" anchor="b"/>
          <a:lstStyle/>
          <a:p>
            <a:pPr defTabSz="965956">
              <a:spcAft>
                <a:spcPct val="30000"/>
              </a:spcAft>
            </a:pPr>
            <a:fld id="{8CFA637D-6AB4-4735-A2FE-7EEF451E5EFC}" type="slidenum">
              <a:rPr lang="en-US" sz="900">
                <a:solidFill>
                  <a:srgbClr val="BFBFBF"/>
                </a:solidFill>
                <a:latin typeface="Arial" pitchFamily="34" charset="0"/>
              </a:rPr>
              <a:pPr defTabSz="965956">
                <a:spcAft>
                  <a:spcPct val="30000"/>
                </a:spcAft>
              </a:pPr>
              <a:t>‹#›</a:t>
            </a:fld>
            <a:endParaRPr lang="en-US" sz="9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413" y="7006851"/>
            <a:ext cx="1343025" cy="236099"/>
          </a:xfrm>
          <a:prstGeom prst="rect">
            <a:avLst/>
          </a:prstGeom>
        </p:spPr>
        <p:txBody>
          <a:bodyPr lIns="91361" tIns="45680" rIns="91361" bIns="45680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2331" indent="-282331" defTabSz="965956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0806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8" r:id="rId1"/>
    <p:sldLayoutId id="2147485329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6806"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3614"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70423"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7228" algn="l" defTabSz="96595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2331" indent="-282331" algn="l" defTabSz="965956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82037" indent="-220475" algn="l" defTabSz="965956" rtl="0" eaLnBrk="1" fontAlgn="base" hangingPunct="1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29401" indent="-207784" algn="l" defTabSz="965956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itchFamily="34" charset="0"/>
        <a:buChar char="–"/>
        <a:defRPr sz="2000">
          <a:solidFill>
            <a:srgbClr val="000000"/>
          </a:solidFill>
          <a:latin typeface="+mn-lt"/>
        </a:defRPr>
      </a:lvl3pPr>
      <a:lvl4pPr marL="1376766" indent="-182407" algn="l" defTabSz="965956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11437" indent="-160200" algn="l" defTabSz="965956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68247" indent="-160200" algn="l" defTabSz="96595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25053" indent="-160200" algn="l" defTabSz="96595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81861" indent="-160200" algn="l" defTabSz="96595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38666" indent="-160200" algn="l" defTabSz="96595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06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14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23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28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35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42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651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455" algn="l" defTabSz="9136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34"/>
            <a:ext cx="9601200" cy="673100"/>
            <a:chOff x="0" y="418"/>
            <a:chExt cx="5760" cy="397"/>
          </a:xfrm>
        </p:grpSpPr>
        <p:pic>
          <p:nvPicPr>
            <p:cNvPr id="96267" name="Picture 3" descr="Txt_DropShadow"/>
            <p:cNvPicPr>
              <a:picLocks noChangeAspect="1" noChangeArrowheads="1"/>
            </p:cNvPicPr>
            <p:nvPr userDrawn="1"/>
          </p:nvPicPr>
          <p:blipFill>
            <a:blip r:embed="rId6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96259" name="Picture 5" descr="90708_Grid"/>
          <p:cNvPicPr>
            <a:picLocks noChangeAspect="1" noChangeArrowheads="1"/>
          </p:cNvPicPr>
          <p:nvPr/>
        </p:nvPicPr>
        <p:blipFill>
          <a:blip r:embed="rId7"/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9" y="12"/>
            <a:ext cx="8963025" cy="1055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282" tIns="48143" rIns="96282" bIns="4814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626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429"/>
            <a:ext cx="8686800" cy="2077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282" tIns="48143" rIns="96282" bIns="4814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22250" y="977967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263" name="Picture 14" descr="Fid_Logo_Grey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185193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9" y="6981891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66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282" tIns="48143" rIns="96282" bIns="48143" anchor="b"/>
          <a:lstStyle/>
          <a:p>
            <a:pPr defTabSz="963126">
              <a:spcAft>
                <a:spcPct val="30000"/>
              </a:spcAft>
              <a:defRPr/>
            </a:pPr>
            <a:fld id="{3A2BBF96-FC31-4A7F-8186-23D3EDEF0341}" type="slidenum">
              <a:rPr lang="en-US" sz="1000">
                <a:solidFill>
                  <a:srgbClr val="BFBFBF"/>
                </a:solidFill>
                <a:latin typeface="Arial" pitchFamily="34" charset="0"/>
              </a:rPr>
              <a:pPr defTabSz="963126">
                <a:spcAft>
                  <a:spcPct val="30000"/>
                </a:spcAft>
                <a:defRPr/>
              </a:pPr>
              <a:t>‹#›</a:t>
            </a:fld>
            <a:endParaRPr lang="en-US" sz="10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442" y="7007225"/>
            <a:ext cx="1343025" cy="234950"/>
          </a:xfrm>
          <a:prstGeom prst="rect">
            <a:avLst/>
          </a:prstGeom>
        </p:spPr>
        <p:txBody>
          <a:bodyPr lIns="91085" tIns="45544" rIns="91085" bIns="45544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1505" indent="-281505" defTabSz="963126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5274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1" r:id="rId1"/>
    <p:sldLayoutId id="2147485332" r:id="rId2"/>
    <p:sldLayoutId id="2147485333" r:id="rId3"/>
    <p:sldLayoutId id="2147485334" r:id="rId4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dt="0"/>
  <p:txStyles>
    <p:titleStyle>
      <a:lvl1pPr algn="l" defTabSz="96312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312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312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312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312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5468" algn="l" defTabSz="96312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0929" algn="l" defTabSz="96312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66399" algn="l" defTabSz="96312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1864" algn="l" defTabSz="963126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1505" indent="-281505" algn="l" defTabSz="96312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80033" indent="-219830" algn="l" defTabSz="963126" rtl="0" eaLnBrk="0" fontAlgn="base" hangingPunct="0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26374" indent="-207162" algn="l" defTabSz="96312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Arial" charset="0"/>
        <a:buChar char="–"/>
        <a:defRPr sz="2000">
          <a:solidFill>
            <a:srgbClr val="000000"/>
          </a:solidFill>
          <a:latin typeface="+mn-lt"/>
        </a:defRPr>
      </a:lvl3pPr>
      <a:lvl4pPr marL="1372734" indent="-181871" algn="l" defTabSz="96312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06427" indent="-159731" algn="l" defTabSz="96312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61875" indent="-159731" algn="l" defTabSz="96312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17360" indent="-159731" algn="l" defTabSz="96312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72829" indent="-159731" algn="l" defTabSz="96312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28304" indent="-159731" algn="l" defTabSz="963126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468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929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399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864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39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795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279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740" algn="l" defTabSz="9109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69903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2"/>
            <a:ext cx="96012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0" y="5"/>
            <a:ext cx="89630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08" tIns="48306" rIns="96608" bIns="483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2" y="1263654"/>
            <a:ext cx="8686800" cy="12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08" tIns="48306" rIns="96608" bIns="48306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3" y="741366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328" y="6954838"/>
            <a:ext cx="1368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8" y="7085018"/>
            <a:ext cx="5842001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08" tIns="48306" rIns="96608" bIns="48306" numCol="1" anchor="b" anchorCtr="0" compatLnSpc="1">
            <a:prstTxWarp prst="textNoShape">
              <a:avLst/>
            </a:prstTxWarp>
          </a:bodyPr>
          <a:lstStyle>
            <a:lvl1pPr defTabSz="966412" eaLnBrk="0" hangingPunct="0"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82589" y="7113593"/>
            <a:ext cx="0" cy="16192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73027" y="7080254"/>
            <a:ext cx="339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08" tIns="48306" rIns="96608" bIns="48306" anchor="b"/>
          <a:lstStyle/>
          <a:p>
            <a:pPr defTabSz="966412"/>
            <a:fld id="{53BFF9C3-F274-49E2-B65B-927A666BDDCC}" type="slidenum">
              <a:rPr lang="en-US" sz="1000">
                <a:solidFill>
                  <a:srgbClr val="808080"/>
                </a:solidFill>
              </a:rPr>
              <a:pPr defTabSz="966412"/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545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  <p:sldLayoutId id="2147485339" r:id="rId4"/>
    <p:sldLayoutId id="2147485340" r:id="rId5"/>
    <p:sldLayoutId id="2147485341" r:id="rId6"/>
    <p:sldLayoutId id="2147485342" r:id="rId7"/>
    <p:sldLayoutId id="2147485343" r:id="rId8"/>
    <p:sldLayoutId id="2147485344" r:id="rId9"/>
    <p:sldLayoutId id="2147485345" r:id="rId10"/>
    <p:sldLayoutId id="2147485346" r:id="rId11"/>
    <p:sldLayoutId id="2147485347" r:id="rId12"/>
    <p:sldLayoutId id="2147485348" r:id="rId13"/>
    <p:sldLayoutId id="2147485349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41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41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2pPr>
      <a:lvl3pPr algn="l" defTabSz="96641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3pPr>
      <a:lvl4pPr algn="l" defTabSz="96641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4pPr>
      <a:lvl5pPr algn="l" defTabSz="96641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5pPr>
      <a:lvl6pPr marL="457023" algn="l" defTabSz="96641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6pPr>
      <a:lvl7pPr marL="914045" algn="l" defTabSz="96641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7pPr>
      <a:lvl8pPr marL="1371067" algn="l" defTabSz="96641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8pPr>
      <a:lvl9pPr marL="1828090" algn="l" defTabSz="96641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9pPr>
    </p:titleStyle>
    <p:bodyStyle>
      <a:lvl1pPr marL="228512" indent="-228512" algn="l" defTabSz="96641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17321" indent="-174558" algn="l" defTabSz="96641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799789" indent="-169796" algn="l" defTabSz="96641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charset="0"/>
        <a:buChar char="–"/>
        <a:defRPr sz="1200">
          <a:solidFill>
            <a:srgbClr val="000000"/>
          </a:solidFill>
          <a:latin typeface="+mn-lt"/>
        </a:defRPr>
      </a:lvl3pPr>
      <a:lvl4pPr marL="1028300" indent="-114255" algn="l" defTabSz="96641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1000">
          <a:solidFill>
            <a:srgbClr val="000000"/>
          </a:solidFill>
          <a:latin typeface="+mn-lt"/>
        </a:defRPr>
      </a:lvl4pPr>
      <a:lvl5pPr marL="1256811" indent="-114255" algn="l" defTabSz="96641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5pPr>
      <a:lvl6pPr marL="1713835" indent="-114255" algn="l" defTabSz="96641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6pPr>
      <a:lvl7pPr marL="2170856" indent="-114255" algn="l" defTabSz="96641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7pPr>
      <a:lvl8pPr marL="2627877" indent="-114255" algn="l" defTabSz="96641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8pPr>
      <a:lvl9pPr marL="3084900" indent="-114255" algn="l" defTabSz="96641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3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45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67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90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11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34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57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77" algn="l" defTabSz="9140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30" name="Group 2"/>
          <p:cNvGrpSpPr>
            <a:grpSpLocks/>
          </p:cNvGrpSpPr>
          <p:nvPr/>
        </p:nvGrpSpPr>
        <p:grpSpPr bwMode="auto">
          <a:xfrm>
            <a:off x="0" y="271488"/>
            <a:ext cx="9601200" cy="671513"/>
            <a:chOff x="0" y="418"/>
            <a:chExt cx="5760" cy="397"/>
          </a:xfrm>
        </p:grpSpPr>
        <p:pic>
          <p:nvPicPr>
            <p:cNvPr id="22539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540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62025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62025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62025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62025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62025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defTabSz="962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defTabSz="962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defTabSz="962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defTabSz="962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>
                <a:buClr>
                  <a:srgbClr val="E84614"/>
                </a:buClr>
                <a:buSzPct val="90000"/>
                <a:buFont typeface="Monotype Sorts" charset="2"/>
                <a:buNone/>
                <a:defRPr/>
              </a:pPr>
              <a:endParaRPr lang="en-US" altLang="en-US" sz="1100" baseline="300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22531" name="Picture 5" descr="90708_Grid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0"/>
            <a:ext cx="9601200" cy="63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2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20675" y="-217488"/>
            <a:ext cx="8959850" cy="1057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257" tIns="48130" rIns="96257" bIns="4813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2533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2763" y="1549404"/>
            <a:ext cx="8688387" cy="154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257" tIns="48130" rIns="96257" bIns="4813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22534" name="Picture 8" descr="New_Greendisc copy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39" y="541344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5" name="Picture 9" descr="Fid_Logo_Gre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413" y="6940576"/>
            <a:ext cx="1368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0154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8" y="7065990"/>
            <a:ext cx="5840412" cy="20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257" tIns="48130" rIns="96257" bIns="48130" numCol="1" anchor="b" anchorCtr="0" compatLnSpc="1">
            <a:prstTxWarp prst="textNoShape">
              <a:avLst/>
            </a:prstTxWarp>
          </a:bodyPr>
          <a:lstStyle>
            <a:lvl1pPr algn="l" defTabSz="962786" eaLnBrk="0" hangingPunct="0">
              <a:spcAft>
                <a:spcPct val="30000"/>
              </a:spcAft>
              <a:defRPr sz="800">
                <a:solidFill>
                  <a:srgbClr val="808080"/>
                </a:solidFill>
                <a:latin typeface="Arial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22537" name="Line 11"/>
          <p:cNvSpPr>
            <a:spLocks noChangeShapeType="1"/>
          </p:cNvSpPr>
          <p:nvPr/>
        </p:nvSpPr>
        <p:spPr bwMode="auto">
          <a:xfrm flipV="1">
            <a:off x="381000" y="7040570"/>
            <a:ext cx="0" cy="246062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algn="ctr"/>
            <a:endParaRPr lang="en-US" dirty="0" smtClean="0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2538" name="Rectangle 12"/>
          <p:cNvSpPr>
            <a:spLocks noChangeArrowheads="1"/>
          </p:cNvSpPr>
          <p:nvPr/>
        </p:nvSpPr>
        <p:spPr bwMode="auto">
          <a:xfrm>
            <a:off x="73025" y="6953250"/>
            <a:ext cx="338138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257" tIns="48130" rIns="96257" bIns="48130" anchor="b"/>
          <a:lstStyle>
            <a:lvl1pPr defTabSz="962025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62025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62025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62025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62025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962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962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962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962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Aft>
                <a:spcPct val="30000"/>
              </a:spcAft>
              <a:defRPr/>
            </a:pPr>
            <a:fld id="{D615C1E6-F238-4FB5-8FDF-A9E8B8958391}" type="slidenum">
              <a:rPr lang="en-US" altLang="en-US" sz="800" smtClean="0">
                <a:solidFill>
                  <a:srgbClr val="808080"/>
                </a:solidFill>
              </a:rPr>
              <a:pPr eaLnBrk="1" hangingPunct="1">
                <a:spcAft>
                  <a:spcPct val="30000"/>
                </a:spcAft>
                <a:defRPr/>
              </a:pPr>
              <a:t>‹#›</a:t>
            </a:fld>
            <a:endParaRPr lang="en-US" altLang="en-US" sz="800" dirty="0" smtClean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164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5" r:id="rId1"/>
    <p:sldLayoutId id="2147485366" r:id="rId2"/>
    <p:sldLayoutId id="2147485367" r:id="rId3"/>
    <p:sldLayoutId id="2147485368" r:id="rId4"/>
    <p:sldLayoutId id="2147485369" r:id="rId5"/>
    <p:sldLayoutId id="2147485370" r:id="rId6"/>
    <p:sldLayoutId id="2147485371" r:id="rId7"/>
    <p:sldLayoutId id="2147485372" r:id="rId8"/>
    <p:sldLayoutId id="2147485373" r:id="rId9"/>
    <p:sldLayoutId id="2147485374" r:id="rId10"/>
    <p:sldLayoutId id="2147485375" r:id="rId11"/>
    <p:sldLayoutId id="2147485376" r:id="rId12"/>
    <p:sldLayoutId id="2147485377" r:id="rId13"/>
    <p:sldLayoutId id="2147485378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+mj-lt"/>
          <a:ea typeface="MS PGothic" pitchFamily="34" charset="-128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  <a:ea typeface="MS PGothic" pitchFamily="3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  <a:ea typeface="MS PGothic" pitchFamily="3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  <a:ea typeface="MS PGothic" pitchFamily="3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  <a:ea typeface="MS PGothic" pitchFamily="34" charset="-128"/>
          <a:cs typeface="ＭＳ Ｐゴシック"/>
        </a:defRPr>
      </a:lvl5pPr>
      <a:lvl6pPr marL="481349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</a:defRPr>
      </a:lvl6pPr>
      <a:lvl7pPr marL="962698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</a:defRPr>
      </a:lvl7pPr>
      <a:lvl8pPr marL="1444046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</a:defRPr>
      </a:lvl8pPr>
      <a:lvl9pPr marL="19254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6600"/>
          </a:solidFill>
          <a:latin typeface="Arial" charset="0"/>
        </a:defRPr>
      </a:lvl9pPr>
    </p:titleStyle>
    <p:bodyStyle>
      <a:lvl1pPr marL="357977" indent="-357977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defRPr sz="1700">
          <a:solidFill>
            <a:srgbClr val="000000"/>
          </a:solidFill>
          <a:latin typeface="+mn-lt"/>
          <a:ea typeface="MS PGothic" pitchFamily="34" charset="-128"/>
          <a:cs typeface="ＭＳ Ｐゴシック"/>
        </a:defRPr>
      </a:lvl1pPr>
      <a:lvl2pPr marL="362726" indent="-242349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700">
          <a:solidFill>
            <a:srgbClr val="000000"/>
          </a:solidFill>
          <a:latin typeface="+mn-lt"/>
          <a:ea typeface="MS PGothic" pitchFamily="34" charset="-128"/>
          <a:cs typeface="ＭＳ Ｐゴシック"/>
        </a:defRPr>
      </a:lvl2pPr>
      <a:lvl3pPr marL="715954" indent="-228094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MS PGothic" pitchFamily="34" charset="-128"/>
          <a:cs typeface="ＭＳ Ｐゴシック"/>
        </a:defRPr>
      </a:lvl3pPr>
      <a:lvl4pPr marL="1081852" indent="-239182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400">
          <a:solidFill>
            <a:srgbClr val="000000"/>
          </a:solidFill>
          <a:latin typeface="+mn-lt"/>
          <a:ea typeface="MS PGothic" pitchFamily="34" charset="-128"/>
          <a:cs typeface="ＭＳ Ｐゴシック"/>
        </a:defRPr>
      </a:lvl4pPr>
      <a:lvl5pPr marL="1449325" indent="-243932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200">
          <a:solidFill>
            <a:srgbClr val="000000"/>
          </a:solidFill>
          <a:latin typeface="+mn-lt"/>
          <a:ea typeface="MS PGothic" pitchFamily="34" charset="-128"/>
          <a:cs typeface="ＭＳ Ｐゴシック"/>
        </a:defRPr>
      </a:lvl5pPr>
      <a:lvl6pPr marL="1933756" indent="-247358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200">
          <a:solidFill>
            <a:srgbClr val="000000"/>
          </a:solidFill>
          <a:latin typeface="+mn-lt"/>
        </a:defRPr>
      </a:lvl6pPr>
      <a:lvl7pPr marL="2415104" indent="-247358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200">
          <a:solidFill>
            <a:srgbClr val="000000"/>
          </a:solidFill>
          <a:latin typeface="+mn-lt"/>
        </a:defRPr>
      </a:lvl7pPr>
      <a:lvl8pPr marL="2896442" indent="-247358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200">
          <a:solidFill>
            <a:srgbClr val="000000"/>
          </a:solidFill>
          <a:latin typeface="+mn-lt"/>
        </a:defRPr>
      </a:lvl8pPr>
      <a:lvl9pPr marL="3377804" indent="-247358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 2" pitchFamily="18" charset="2"/>
        <a:buChar char=""/>
        <a:defRPr sz="12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1349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2698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4046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5400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6750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8094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9450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50796" algn="l" defTabSz="9626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69900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1"/>
            <a:ext cx="96012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9" y="1"/>
            <a:ext cx="89630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3651"/>
            <a:ext cx="8686800" cy="12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741363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325" y="6954838"/>
            <a:ext cx="1368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7" y="7085014"/>
            <a:ext cx="5842001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b" anchorCtr="0" compatLnSpc="1">
            <a:prstTxWarp prst="textNoShape">
              <a:avLst/>
            </a:prstTxWarp>
          </a:bodyPr>
          <a:lstStyle>
            <a:lvl1pPr defTabSz="966702" eaLnBrk="0" hangingPunct="0"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82589" y="7113589"/>
            <a:ext cx="0" cy="16192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73026" y="7080251"/>
            <a:ext cx="339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37" tIns="48319" rIns="96637" bIns="48319" anchor="b"/>
          <a:lstStyle/>
          <a:p>
            <a:pPr defTabSz="966702"/>
            <a:fld id="{53BFF9C3-F274-49E2-B65B-927A666BDDCC}" type="slidenum">
              <a:rPr lang="en-US" sz="1000">
                <a:solidFill>
                  <a:srgbClr val="808080"/>
                </a:solidFill>
              </a:rPr>
              <a:pPr defTabSz="966702"/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447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80" r:id="rId1"/>
    <p:sldLayoutId id="2147485381" r:id="rId2"/>
    <p:sldLayoutId id="2147485382" r:id="rId3"/>
    <p:sldLayoutId id="2147485383" r:id="rId4"/>
    <p:sldLayoutId id="2147485384" r:id="rId5"/>
    <p:sldLayoutId id="2147485385" r:id="rId6"/>
    <p:sldLayoutId id="2147485386" r:id="rId7"/>
    <p:sldLayoutId id="2147485387" r:id="rId8"/>
    <p:sldLayoutId id="2147485388" r:id="rId9"/>
    <p:sldLayoutId id="2147485389" r:id="rId10"/>
    <p:sldLayoutId id="2147485390" r:id="rId11"/>
    <p:sldLayoutId id="2147485391" r:id="rId12"/>
    <p:sldLayoutId id="2147485392" r:id="rId13"/>
    <p:sldLayoutId id="2147485393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2pPr>
      <a:lvl3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3pPr>
      <a:lvl4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4pPr>
      <a:lvl5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5pPr>
      <a:lvl6pPr marL="45715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6pPr>
      <a:lvl7pPr marL="91431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7pPr>
      <a:lvl8pPr marL="137147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8pPr>
      <a:lvl9pPr marL="182863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9pPr>
    </p:titleStyle>
    <p:bodyStyle>
      <a:lvl1pPr marL="228580" indent="-22858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17479" indent="-17461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800029" indent="-169847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charset="0"/>
        <a:buChar char="–"/>
        <a:defRPr sz="1200">
          <a:solidFill>
            <a:srgbClr val="000000"/>
          </a:solidFill>
          <a:latin typeface="+mn-lt"/>
        </a:defRPr>
      </a:lvl3pPr>
      <a:lvl4pPr marL="102860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1000">
          <a:solidFill>
            <a:srgbClr val="000000"/>
          </a:solidFill>
          <a:latin typeface="+mn-lt"/>
        </a:defRPr>
      </a:lvl4pPr>
      <a:lvl5pPr marL="125718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5pPr>
      <a:lvl6pPr marL="1714348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6pPr>
      <a:lvl7pPr marL="217150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7pPr>
      <a:lvl8pPr marL="262866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8pPr>
      <a:lvl9pPr marL="3085825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Divider_Slid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288"/>
            <a:ext cx="96012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62038" y="2554288"/>
            <a:ext cx="7639050" cy="62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62038" y="3267076"/>
            <a:ext cx="7666037" cy="151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37" tIns="48319" rIns="96637" bIns="483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6487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7" y="6865938"/>
            <a:ext cx="5842001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b" anchorCtr="0" compatLnSpc="1">
            <a:prstTxWarp prst="textNoShape">
              <a:avLst/>
            </a:prstTxWarp>
          </a:bodyPr>
          <a:lstStyle>
            <a:lvl1pPr defTabSz="966702" eaLnBrk="0" hangingPunct="0">
              <a:spcAft>
                <a:spcPct val="30000"/>
              </a:spcAft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 Fidelity Internal Information</a:t>
            </a:r>
          </a:p>
        </p:txBody>
      </p:sp>
      <p:sp>
        <p:nvSpPr>
          <p:cNvPr id="2054" name="Line 8"/>
          <p:cNvSpPr>
            <a:spLocks noChangeShapeType="1"/>
          </p:cNvSpPr>
          <p:nvPr/>
        </p:nvSpPr>
        <p:spPr bwMode="auto">
          <a:xfrm flipV="1">
            <a:off x="382589" y="7004051"/>
            <a:ext cx="0" cy="331788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endParaRPr lang="en-US" dirty="0"/>
          </a:p>
        </p:txBody>
      </p:sp>
      <p:sp>
        <p:nvSpPr>
          <p:cNvPr id="2055" name="Rectangle 9"/>
          <p:cNvSpPr>
            <a:spLocks noChangeArrowheads="1"/>
          </p:cNvSpPr>
          <p:nvPr/>
        </p:nvSpPr>
        <p:spPr bwMode="auto">
          <a:xfrm>
            <a:off x="73026" y="6684963"/>
            <a:ext cx="339725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37" tIns="48319" rIns="96637" bIns="48319" anchor="b"/>
          <a:lstStyle/>
          <a:p>
            <a:pPr defTabSz="966702"/>
            <a:fld id="{C7D86FE2-013C-4BEB-A276-A0DA29E754F1}" type="slidenum">
              <a:rPr lang="en-US" sz="1000">
                <a:solidFill>
                  <a:schemeClr val="bg2"/>
                </a:solidFill>
              </a:rPr>
              <a:pPr defTabSz="966702"/>
              <a:t>‹#›</a:t>
            </a:fld>
            <a:endParaRPr lang="en-US" sz="10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  <p:sldLayoutId id="2147485238" r:id="rId8"/>
    <p:sldLayoutId id="2147485239" r:id="rId9"/>
    <p:sldLayoutId id="2147485240" r:id="rId10"/>
    <p:sldLayoutId id="2147485241" r:id="rId11"/>
  </p:sldLayoutIdLst>
  <p:hf sldNum="0" hdr="0" dt="0"/>
  <p:txStyles>
    <p:titleStyle>
      <a:lvl1pPr algn="l" defTabSz="966702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2pPr>
      <a:lvl3pPr algn="l" defTabSz="966702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3pPr>
      <a:lvl4pPr algn="l" defTabSz="966702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4pPr>
      <a:lvl5pPr algn="l" defTabSz="966702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5pPr>
      <a:lvl6pPr marL="457159" algn="l" defTabSz="966702" rtl="0" fontAlgn="base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6pPr>
      <a:lvl7pPr marL="914319" algn="l" defTabSz="966702" rtl="0" fontAlgn="base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7pPr>
      <a:lvl8pPr marL="1371477" algn="l" defTabSz="966702" rtl="0" fontAlgn="base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8pPr>
      <a:lvl9pPr marL="1828637" algn="l" defTabSz="966702" rtl="0" fontAlgn="base">
        <a:spcBef>
          <a:spcPct val="0"/>
        </a:spcBef>
        <a:spcAft>
          <a:spcPct val="0"/>
        </a:spcAft>
        <a:defRPr sz="3000" b="1">
          <a:solidFill>
            <a:srgbClr val="006600"/>
          </a:solidFill>
          <a:latin typeface="Arial" pitchFamily="34" charset="0"/>
        </a:defRPr>
      </a:lvl9pPr>
    </p:titleStyle>
    <p:bodyStyle>
      <a:lvl1pPr marL="342869" indent="-342869" algn="l" defTabSz="966702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  <a:ea typeface="+mn-ea"/>
          <a:cs typeface="+mn-cs"/>
        </a:defRPr>
      </a:lvl1pPr>
      <a:lvl2pPr marL="784155" indent="-301598" algn="l" defTabSz="966702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2pPr>
      <a:lvl3pPr marL="1207980" indent="-241279" algn="l" defTabSz="966702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3pPr>
      <a:lvl4pPr marL="1688950" indent="-238103" algn="l" defTabSz="966702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4pPr>
      <a:lvl5pPr marL="2174681" indent="-241279" algn="l" defTabSz="966702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5pPr>
      <a:lvl6pPr marL="2631841" indent="-241279" algn="l" defTabSz="966702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6pPr>
      <a:lvl7pPr marL="3088999" indent="-241279" algn="l" defTabSz="966702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7pPr>
      <a:lvl8pPr marL="3546159" indent="-241279" algn="l" defTabSz="966702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8pPr>
      <a:lvl9pPr marL="4003318" indent="-241279" algn="l" defTabSz="966702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43399582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9266" name="Group 2"/>
          <p:cNvGrpSpPr>
            <a:grpSpLocks/>
          </p:cNvGrpSpPr>
          <p:nvPr/>
        </p:nvGrpSpPr>
        <p:grpSpPr bwMode="auto">
          <a:xfrm>
            <a:off x="0" y="536577"/>
            <a:ext cx="9601200" cy="673100"/>
            <a:chOff x="0" y="418"/>
            <a:chExt cx="5760" cy="397"/>
          </a:xfrm>
        </p:grpSpPr>
        <p:pic>
          <p:nvPicPr>
            <p:cNvPr id="139267" name="Picture 3" descr="Txt_DropShadow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14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139269" name="Picture 5" descr="90708_Grid"/>
          <p:cNvPicPr>
            <a:picLocks noChangeAspect="1" noChangeArrowheads="1"/>
          </p:cNvPicPr>
          <p:nvPr/>
        </p:nvPicPr>
        <p:blipFill>
          <a:blip r:embed="rId8" cstate="print"/>
          <a:srcRect t="18718" b="61028"/>
          <a:stretch>
            <a:fillRect/>
          </a:stretch>
        </p:blipFill>
        <p:spPr bwMode="auto">
          <a:xfrm>
            <a:off x="0" y="0"/>
            <a:ext cx="9601200" cy="876300"/>
          </a:xfrm>
          <a:prstGeom prst="rect">
            <a:avLst/>
          </a:prstGeom>
          <a:noFill/>
        </p:spPr>
      </p:pic>
      <p:sp>
        <p:nvSpPr>
          <p:cNvPr id="13927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5" y="4"/>
            <a:ext cx="8963025" cy="1055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593" tIns="48298" rIns="96593" bIns="4829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927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9413" y="1273181"/>
            <a:ext cx="8897937" cy="2077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593" tIns="48298" rIns="96593" bIns="4829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139274" name="Picture 10" descr="New_Greendisc copy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22250" y="806458"/>
            <a:ext cx="600075" cy="328613"/>
          </a:xfrm>
          <a:prstGeom prst="rect">
            <a:avLst/>
          </a:prstGeom>
          <a:noFill/>
        </p:spPr>
      </p:pic>
      <p:pic>
        <p:nvPicPr>
          <p:cNvPr id="139278" name="Picture 14" descr="Fid_Logo_Grey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462964" y="6985526"/>
            <a:ext cx="1090737" cy="282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9" y="7067556"/>
            <a:ext cx="0" cy="213526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en-US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31" y="7043727"/>
            <a:ext cx="36750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593" tIns="48298" rIns="96593" bIns="48298" anchor="b"/>
          <a:lstStyle/>
          <a:p>
            <a:pPr defTabSz="966184">
              <a:spcAft>
                <a:spcPct val="30000"/>
              </a:spcAft>
            </a:pPr>
            <a:fld id="{8CFA637D-6AB4-4735-A2FE-7EEF451E5EFC}" type="slidenum">
              <a:rPr lang="en-US" sz="1000">
                <a:solidFill>
                  <a:srgbClr val="BFBFBF"/>
                </a:solidFill>
                <a:latin typeface="Arial" pitchFamily="34" charset="0"/>
              </a:rPr>
              <a:pPr defTabSz="966184">
                <a:spcAft>
                  <a:spcPct val="30000"/>
                </a:spcAft>
              </a:pPr>
              <a:t>‹#›</a:t>
            </a:fld>
            <a:endParaRPr lang="en-US" sz="10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413" y="7049709"/>
            <a:ext cx="2446914" cy="225135"/>
          </a:xfrm>
          <a:prstGeom prst="rect">
            <a:avLst/>
          </a:prstGeom>
        </p:spPr>
        <p:txBody>
          <a:bodyPr lIns="91383" tIns="45691" rIns="91383" bIns="45691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2399" indent="-282399" defTabSz="966184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sz="1000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Highly Confidential Information</a:t>
            </a:r>
            <a:endParaRPr lang="en-US" sz="1000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35877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4" r:id="rId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6916"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3830"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70744"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7660" algn="l" defTabSz="966184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2399" indent="-282399" algn="l" defTabSz="966184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82199" indent="-220525" algn="l" defTabSz="966184" rtl="0" eaLnBrk="1" fontAlgn="base" hangingPunct="1">
        <a:spcBef>
          <a:spcPct val="0"/>
        </a:spcBef>
        <a:spcAft>
          <a:spcPts val="800"/>
        </a:spcAft>
        <a:buClr>
          <a:schemeClr val="accent1">
            <a:lumMod val="75000"/>
          </a:schemeClr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29644" indent="-207830" algn="l" defTabSz="966184" rtl="0" eaLnBrk="1" fontAlgn="base" hangingPunct="1">
        <a:spcBef>
          <a:spcPct val="0"/>
        </a:spcBef>
        <a:spcAft>
          <a:spcPts val="800"/>
        </a:spcAft>
        <a:buClr>
          <a:schemeClr val="accent1">
            <a:lumMod val="75000"/>
          </a:schemeClr>
        </a:buClr>
        <a:buFont typeface="Arial" pitchFamily="34" charset="0"/>
        <a:buChar char="–"/>
        <a:defRPr sz="2000">
          <a:solidFill>
            <a:srgbClr val="000000"/>
          </a:solidFill>
          <a:latin typeface="+mn-lt"/>
        </a:defRPr>
      </a:lvl3pPr>
      <a:lvl4pPr marL="1377091" indent="-182449" algn="l" defTabSz="966184" rtl="0" eaLnBrk="1" fontAlgn="base" hangingPunct="1">
        <a:spcBef>
          <a:spcPct val="0"/>
        </a:spcBef>
        <a:spcAft>
          <a:spcPts val="800"/>
        </a:spcAft>
        <a:buClr>
          <a:schemeClr val="accent1">
            <a:lumMod val="75000"/>
          </a:schemeClr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11844" indent="-160237" algn="l" defTabSz="966184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68759" indent="-160237" algn="l" defTabSz="966184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25674" indent="-160237" algn="l" defTabSz="966184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82589" indent="-160237" algn="l" defTabSz="966184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39506" indent="-160237" algn="l" defTabSz="966184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6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0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44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60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5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89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04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19" algn="l" defTabSz="9138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6"/>
            <a:ext cx="9601200" cy="673100"/>
            <a:chOff x="0" y="418"/>
            <a:chExt cx="5760" cy="397"/>
          </a:xfrm>
        </p:grpSpPr>
        <p:pic>
          <p:nvPicPr>
            <p:cNvPr id="20491" name="Picture 3" descr="Txt_DropShadow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defTabSz="96652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9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20483" name="Picture 5" descr="90708_Grid"/>
          <p:cNvPicPr>
            <a:picLocks noChangeAspect="1" noChangeArrowheads="1"/>
          </p:cNvPicPr>
          <p:nvPr/>
        </p:nvPicPr>
        <p:blipFill>
          <a:blip r:embed="rId3" cstate="print"/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4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9" y="0"/>
            <a:ext cx="8963025" cy="1055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46" tIns="48323" rIns="96646" bIns="4832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485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399"/>
            <a:ext cx="8686800" cy="2077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46" tIns="48323" rIns="96646" bIns="4832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20486" name="Picture 10" descr="New_Greendisc copy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2250" y="977902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7" name="Picture 14" descr="Fid_Logo_Grey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9" y="6981827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665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26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46" tIns="48323" rIns="96646" bIns="48323" anchor="b"/>
          <a:lstStyle/>
          <a:p>
            <a:pPr defTabSz="966702" fontAlgn="auto">
              <a:spcBef>
                <a:spcPts val="0"/>
              </a:spcBef>
              <a:spcAft>
                <a:spcPct val="30000"/>
              </a:spcAft>
              <a:defRPr/>
            </a:pPr>
            <a:fld id="{1F684B3A-8731-4D71-B7ED-1275779B9046}" type="slidenum">
              <a:rPr lang="en-US" sz="1000">
                <a:solidFill>
                  <a:srgbClr val="BFBFBF"/>
                </a:solidFill>
                <a:latin typeface="Arial" pitchFamily="34" charset="0"/>
              </a:rPr>
              <a:pPr defTabSz="966702" fontAlgn="auto">
                <a:spcBef>
                  <a:spcPts val="0"/>
                </a:spcBef>
                <a:spcAft>
                  <a:spcPct val="30000"/>
                </a:spcAft>
                <a:defRPr/>
              </a:pPr>
              <a:t>‹#›</a:t>
            </a:fld>
            <a:endParaRPr lang="en-US" sz="100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414" y="7007225"/>
            <a:ext cx="1343025" cy="234950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2550" indent="-282550" defTabSz="966702" fontAlgn="auto">
              <a:spcBef>
                <a:spcPts val="0"/>
              </a:spcBef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4600511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dt="0"/>
  <p:txStyles>
    <p:titleStyle>
      <a:lvl1pPr algn="l" defTabSz="966702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6702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6702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6702" rtl="0" fontAlgn="base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7159" algn="l" defTabSz="966702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4319" algn="l" defTabSz="966702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71477" algn="l" defTabSz="966702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8637" algn="l" defTabSz="966702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2550" indent="-282550" algn="l" defTabSz="966702" rtl="0" fontAlgn="base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82564" indent="-220643" algn="l" defTabSz="966702" rtl="0" fontAlgn="base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30196" indent="-207944" algn="l" defTabSz="966702" rtl="0" fontAlgn="base">
        <a:spcBef>
          <a:spcPct val="0"/>
        </a:spcBef>
        <a:spcAft>
          <a:spcPts val="800"/>
        </a:spcAft>
        <a:buClr>
          <a:schemeClr val="accent1"/>
        </a:buClr>
        <a:buFont typeface="Arial" charset="0"/>
        <a:buChar char="–"/>
        <a:defRPr sz="2000">
          <a:solidFill>
            <a:srgbClr val="000000"/>
          </a:solidFill>
          <a:latin typeface="+mn-lt"/>
        </a:defRPr>
      </a:lvl3pPr>
      <a:lvl4pPr marL="1377827" indent="-182546" algn="l" defTabSz="966702" rtl="0" fontAlgn="base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12760" indent="-160324" algn="l" defTabSz="966702" rtl="0" fontAlgn="base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69920" indent="-160324" algn="l" defTabSz="966702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27078" indent="-160324" algn="l" defTabSz="966702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84238" indent="-160324" algn="l" defTabSz="966702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41397" indent="-160324" algn="l" defTabSz="966702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69900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1"/>
            <a:ext cx="96012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9" y="1"/>
            <a:ext cx="89630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3651"/>
            <a:ext cx="8686800" cy="12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741363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325" y="6954838"/>
            <a:ext cx="1368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7" y="7085014"/>
            <a:ext cx="5842001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b" anchorCtr="0" compatLnSpc="1">
            <a:prstTxWarp prst="textNoShape">
              <a:avLst/>
            </a:prstTxWarp>
          </a:bodyPr>
          <a:lstStyle>
            <a:lvl1pPr defTabSz="966702" eaLnBrk="0" hangingPunct="0"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82589" y="7113589"/>
            <a:ext cx="0" cy="16192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73026" y="7080251"/>
            <a:ext cx="339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37" tIns="48319" rIns="96637" bIns="48319" anchor="b"/>
          <a:lstStyle/>
          <a:p>
            <a:pPr defTabSz="966702"/>
            <a:fld id="{53BFF9C3-F274-49E2-B65B-927A666BDDCC}" type="slidenum">
              <a:rPr lang="en-US" sz="1000">
                <a:solidFill>
                  <a:srgbClr val="808080"/>
                </a:solidFill>
              </a:rPr>
              <a:pPr defTabSz="966702"/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79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61" r:id="rId2"/>
    <p:sldLayoutId id="2147485262" r:id="rId3"/>
    <p:sldLayoutId id="2147485263" r:id="rId4"/>
    <p:sldLayoutId id="2147485264" r:id="rId5"/>
    <p:sldLayoutId id="2147485265" r:id="rId6"/>
    <p:sldLayoutId id="2147485266" r:id="rId7"/>
    <p:sldLayoutId id="2147485267" r:id="rId8"/>
    <p:sldLayoutId id="2147485268" r:id="rId9"/>
    <p:sldLayoutId id="2147485269" r:id="rId10"/>
    <p:sldLayoutId id="2147485270" r:id="rId11"/>
    <p:sldLayoutId id="2147485271" r:id="rId12"/>
    <p:sldLayoutId id="2147485272" r:id="rId13"/>
    <p:sldLayoutId id="2147485273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2pPr>
      <a:lvl3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3pPr>
      <a:lvl4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4pPr>
      <a:lvl5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5pPr>
      <a:lvl6pPr marL="45715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6pPr>
      <a:lvl7pPr marL="91431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7pPr>
      <a:lvl8pPr marL="137147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8pPr>
      <a:lvl9pPr marL="182863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9pPr>
    </p:titleStyle>
    <p:bodyStyle>
      <a:lvl1pPr marL="228580" indent="-22858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17479" indent="-17461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800029" indent="-169847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charset="0"/>
        <a:buChar char="–"/>
        <a:defRPr sz="1200">
          <a:solidFill>
            <a:srgbClr val="000000"/>
          </a:solidFill>
          <a:latin typeface="+mn-lt"/>
        </a:defRPr>
      </a:lvl3pPr>
      <a:lvl4pPr marL="102860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1000">
          <a:solidFill>
            <a:srgbClr val="000000"/>
          </a:solidFill>
          <a:latin typeface="+mn-lt"/>
        </a:defRPr>
      </a:lvl4pPr>
      <a:lvl5pPr marL="125718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5pPr>
      <a:lvl6pPr marL="1714348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6pPr>
      <a:lvl7pPr marL="217150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7pPr>
      <a:lvl8pPr marL="262866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8pPr>
      <a:lvl9pPr marL="3085825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7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1399" tIns="45699" rIns="91399" bIns="45699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98" y="4"/>
            <a:ext cx="8963025" cy="1055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211" tIns="48110" rIns="96211" bIns="4811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424"/>
            <a:ext cx="8686800" cy="2077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211" tIns="48110" rIns="96211" bIns="4811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22250" y="979488"/>
            <a:ext cx="600075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9" y="6981870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34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211" tIns="48110" rIns="96211" bIns="48110" anchor="b"/>
          <a:lstStyle/>
          <a:p>
            <a:pPr defTabSz="962827">
              <a:spcAft>
                <a:spcPct val="30000"/>
              </a:spcAft>
              <a:defRPr/>
            </a:pPr>
            <a:fld id="{71FF46E8-AA29-4262-B202-9979C7AC25FC}" type="slidenum">
              <a:rPr lang="en-US" sz="1000">
                <a:solidFill>
                  <a:srgbClr val="BFBFBF"/>
                </a:solidFill>
              </a:rPr>
              <a:pPr defTabSz="962827">
                <a:spcAft>
                  <a:spcPct val="30000"/>
                </a:spcAft>
                <a:defRPr/>
              </a:pPr>
              <a:t>‹#›</a:t>
            </a:fld>
            <a:endParaRPr lang="en-US" sz="1000" dirty="0">
              <a:solidFill>
                <a:srgbClr val="BFBFBF"/>
              </a:solidFill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 bwMode="auto">
          <a:xfrm>
            <a:off x="379457" y="7007225"/>
            <a:ext cx="1343025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021" tIns="45510" rIns="91021" bIns="45510"/>
          <a:lstStyle/>
          <a:p>
            <a:pPr marL="281419" indent="-281419" defTabSz="962827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sz="1000" dirty="0">
                <a:solidFill>
                  <a:srgbClr val="7F7F7F"/>
                </a:solidFill>
              </a:rPr>
              <a:t>Fidelit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61586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5" r:id="rId1"/>
    <p:sldLayoutId id="2147485276" r:id="rId2"/>
    <p:sldLayoutId id="2147485277" r:id="rId3"/>
    <p:sldLayoutId id="2147485278" r:id="rId4"/>
    <p:sldLayoutId id="2147485279" r:id="rId5"/>
    <p:sldLayoutId id="2147485280" r:id="rId6"/>
    <p:sldLayoutId id="2147485281" r:id="rId7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dt="0"/>
  <p:txStyles>
    <p:titleStyle>
      <a:lvl1pPr algn="l" defTabSz="96001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001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001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001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0016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5331" algn="l" defTabSz="962827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0657" algn="l" defTabSz="962827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65987" algn="l" defTabSz="962827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1317" algn="l" defTabSz="962827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78363" indent="-278363" algn="l" defTabSz="96001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76913" indent="-216681" algn="l" defTabSz="960016" rtl="0" eaLnBrk="0" fontAlgn="base" hangingPunct="0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23265" indent="-204020" algn="l" defTabSz="96001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Arial" charset="0"/>
        <a:buChar char="–"/>
        <a:defRPr sz="2000">
          <a:solidFill>
            <a:srgbClr val="000000"/>
          </a:solidFill>
          <a:latin typeface="+mn-lt"/>
        </a:defRPr>
      </a:lvl3pPr>
      <a:lvl4pPr marL="1369639" indent="-178720" algn="l" defTabSz="96001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03351" indent="-156576" algn="l" defTabSz="960016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61235" indent="-159679" algn="l" defTabSz="962827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16565" indent="-159679" algn="l" defTabSz="962827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71893" indent="-159679" algn="l" defTabSz="962827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27236" indent="-159679" algn="l" defTabSz="962827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331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657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987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317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648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980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7308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2638" algn="l" defTabSz="9106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5"/>
            <a:ext cx="9601200" cy="673100"/>
            <a:chOff x="0" y="418"/>
            <a:chExt cx="5760" cy="397"/>
          </a:xfrm>
        </p:grpSpPr>
        <p:pic>
          <p:nvPicPr>
            <p:cNvPr id="96267" name="Picture 3" descr="Txt_DropShadow"/>
            <p:cNvPicPr>
              <a:picLocks noChangeAspect="1" noChangeArrowheads="1"/>
            </p:cNvPicPr>
            <p:nvPr userDrawn="1"/>
          </p:nvPicPr>
          <p:blipFill>
            <a:blip r:embed="rId7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96259" name="Picture 5" descr="90708_Grid"/>
          <p:cNvPicPr>
            <a:picLocks noChangeAspect="1" noChangeArrowheads="1"/>
          </p:cNvPicPr>
          <p:nvPr/>
        </p:nvPicPr>
        <p:blipFill>
          <a:blip r:embed="rId8"/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8" y="0"/>
            <a:ext cx="8963025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5" tIns="48328" rIns="96655" bIns="4832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626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549400"/>
            <a:ext cx="8686800" cy="207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5" tIns="48328" rIns="96655" bIns="4832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22250" y="977900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263" name="Picture 14" descr="Fid_Logo_Grey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185150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8" y="6981825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25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55" tIns="48328" rIns="96655" bIns="48328" anchor="b"/>
          <a:lstStyle/>
          <a:p>
            <a:pPr defTabSz="966788">
              <a:spcAft>
                <a:spcPct val="30000"/>
              </a:spcAft>
              <a:defRPr/>
            </a:pPr>
            <a:fld id="{3A2BBF96-FC31-4A7F-8186-23D3EDEF0341}" type="slidenum">
              <a:rPr lang="en-US" sz="900">
                <a:solidFill>
                  <a:srgbClr val="BFBFBF"/>
                </a:solidFill>
                <a:latin typeface="Arial" pitchFamily="34" charset="0"/>
              </a:rPr>
              <a:pPr defTabSz="966788">
                <a:spcAft>
                  <a:spcPct val="30000"/>
                </a:spcAft>
                <a:defRPr/>
              </a:pPr>
              <a:t>‹#›</a:t>
            </a:fld>
            <a:endParaRPr lang="en-US" sz="9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413" y="7007225"/>
            <a:ext cx="1343025" cy="234950"/>
          </a:xfrm>
          <a:prstGeom prst="rect">
            <a:avLst/>
          </a:prstGeom>
        </p:spPr>
        <p:txBody>
          <a:bodyPr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2575" indent="-282575" defTabSz="966788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8118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4" r:id="rId1"/>
    <p:sldLayoutId id="2147485285" r:id="rId2"/>
    <p:sldLayoutId id="2147485286" r:id="rId3"/>
    <p:sldLayoutId id="2147485287" r:id="rId4"/>
    <p:sldLayoutId id="2147485288" r:id="rId5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dt="0"/>
  <p:txStyles>
    <p:titleStyle>
      <a:lvl1pPr algn="l" defTabSz="966788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88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66788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66788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66788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7200" algn="l" defTabSz="966788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14400" algn="l" defTabSz="966788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71600" algn="l" defTabSz="966788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28800" algn="l" defTabSz="966788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2575" indent="-282575" algn="l" defTabSz="966788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82625" indent="-220663" algn="l" defTabSz="966788" rtl="0" eaLnBrk="0" fontAlgn="base" hangingPunct="0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30288" indent="-207963" algn="l" defTabSz="966788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Arial" charset="0"/>
        <a:buChar char="–"/>
        <a:defRPr sz="2000">
          <a:solidFill>
            <a:srgbClr val="000000"/>
          </a:solidFill>
          <a:latin typeface="+mn-lt"/>
        </a:defRPr>
      </a:lvl3pPr>
      <a:lvl4pPr marL="1377950" indent="-182563" algn="l" defTabSz="966788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712913" indent="-160338" algn="l" defTabSz="966788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70113" indent="-160338" algn="l" defTabSz="966788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27313" indent="-160338" algn="l" defTabSz="966788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84513" indent="-160338" algn="l" defTabSz="966788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41713" indent="-160338" algn="l" defTabSz="966788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708025"/>
            <a:ext cx="9601200" cy="673100"/>
            <a:chOff x="0" y="418"/>
            <a:chExt cx="5760" cy="397"/>
          </a:xfrm>
        </p:grpSpPr>
        <p:pic>
          <p:nvPicPr>
            <p:cNvPr id="96267" name="Picture 3" descr="Txt_DropShadow"/>
            <p:cNvPicPr>
              <a:picLocks noChangeAspect="1" noChangeArrowheads="1"/>
            </p:cNvPicPr>
            <p:nvPr userDrawn="1"/>
          </p:nvPicPr>
          <p:blipFill>
            <a:blip r:embed="rId6"/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9268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96259" name="Picture 5" descr="90708_Grid"/>
          <p:cNvPicPr>
            <a:picLocks noChangeAspect="1" noChangeArrowheads="1"/>
          </p:cNvPicPr>
          <p:nvPr/>
        </p:nvPicPr>
        <p:blipFill>
          <a:blip r:embed="rId7"/>
          <a:srcRect t="18718" b="61028"/>
          <a:stretch>
            <a:fillRect/>
          </a:stretch>
        </p:blipFill>
        <p:spPr bwMode="auto">
          <a:xfrm>
            <a:off x="0" y="0"/>
            <a:ext cx="960120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8" y="4"/>
            <a:ext cx="8963025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847" tIns="47924" rIns="95847" bIns="4792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626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2" y="1549405"/>
            <a:ext cx="8686800" cy="207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847" tIns="47924" rIns="95847" bIns="47924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22254" y="978020"/>
            <a:ext cx="60007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263" name="Picture 14" descr="Fid_Logo_Grey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185159" y="6913563"/>
            <a:ext cx="136842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80" name="Line 16"/>
          <p:cNvSpPr>
            <a:spLocks noChangeShapeType="1"/>
          </p:cNvSpPr>
          <p:nvPr/>
        </p:nvSpPr>
        <p:spPr bwMode="auto">
          <a:xfrm flipV="1">
            <a:off x="382588" y="6981945"/>
            <a:ext cx="0" cy="35401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9281" name="Rectangle 17"/>
          <p:cNvSpPr>
            <a:spLocks noChangeArrowheads="1"/>
          </p:cNvSpPr>
          <p:nvPr/>
        </p:nvSpPr>
        <p:spPr bwMode="auto">
          <a:xfrm>
            <a:off x="73025" y="6684963"/>
            <a:ext cx="3397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847" tIns="47924" rIns="95847" bIns="47924" anchor="b"/>
          <a:lstStyle/>
          <a:p>
            <a:pPr defTabSz="958675">
              <a:spcAft>
                <a:spcPct val="30000"/>
              </a:spcAft>
              <a:defRPr/>
            </a:pPr>
            <a:fld id="{3A2BBF96-FC31-4A7F-8186-23D3EDEF0341}" type="slidenum">
              <a:rPr lang="en-US" sz="900">
                <a:solidFill>
                  <a:srgbClr val="BFBFBF"/>
                </a:solidFill>
                <a:latin typeface="Arial" pitchFamily="34" charset="0"/>
              </a:rPr>
              <a:pPr defTabSz="958675">
                <a:spcAft>
                  <a:spcPct val="30000"/>
                </a:spcAft>
                <a:defRPr/>
              </a:pPr>
              <a:t>‹#›</a:t>
            </a:fld>
            <a:endParaRPr lang="en-US" sz="900" dirty="0">
              <a:solidFill>
                <a:srgbClr val="BFBFBF"/>
              </a:solidFill>
              <a:latin typeface="Arial" pitchFamily="34" charset="0"/>
            </a:endParaRPr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379533" y="7007225"/>
            <a:ext cx="1343025" cy="234950"/>
          </a:xfrm>
          <a:prstGeom prst="rect">
            <a:avLst/>
          </a:prstGeom>
        </p:spPr>
        <p:txBody>
          <a:bodyPr lIns="90679" tIns="45340" rIns="90679" bIns="45340"/>
          <a:lstStyle>
            <a:lvl1pPr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0231" indent="-280231" defTabSz="958675">
              <a:spcAft>
                <a:spcPts val="800"/>
              </a:spcAft>
              <a:buClr>
                <a:srgbClr val="3C8A2E"/>
              </a:buClr>
              <a:buFont typeface="Wingdings 3" pitchFamily="18" charset="2"/>
              <a:buNone/>
              <a:defRPr/>
            </a:pPr>
            <a:r>
              <a:rPr lang="en-US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Fidelity Confidential</a:t>
            </a:r>
            <a:endParaRPr lang="en-US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4250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0" r:id="rId1"/>
    <p:sldLayoutId id="2147485291" r:id="rId2"/>
    <p:sldLayoutId id="2147485292" r:id="rId3"/>
    <p:sldLayoutId id="2147485293" r:id="rId4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dt="0"/>
  <p:txStyles>
    <p:titleStyle>
      <a:lvl1pPr algn="l" defTabSz="958675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58675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2pPr>
      <a:lvl3pPr algn="l" defTabSz="958675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3pPr>
      <a:lvl4pPr algn="l" defTabSz="958675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4pPr>
      <a:lvl5pPr algn="l" defTabSz="958675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5pPr>
      <a:lvl6pPr marL="453365" algn="l" defTabSz="958675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6pPr>
      <a:lvl7pPr marL="906728" algn="l" defTabSz="958675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7pPr>
      <a:lvl8pPr marL="1360094" algn="l" defTabSz="958675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8pPr>
      <a:lvl9pPr marL="1813446" algn="l" defTabSz="958675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pitchFamily="34" charset="0"/>
        </a:defRPr>
      </a:lvl9pPr>
    </p:titleStyle>
    <p:bodyStyle>
      <a:lvl1pPr marL="280231" indent="-280231" algn="l" defTabSz="958675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 3" pitchFamily="18" charset="2"/>
        <a:buChar char="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676898" indent="-218807" algn="l" defTabSz="958675" rtl="0" eaLnBrk="0" fontAlgn="base" hangingPunct="0">
        <a:spcBef>
          <a:spcPct val="0"/>
        </a:spcBef>
        <a:spcAft>
          <a:spcPts val="800"/>
        </a:spcAft>
        <a:buClr>
          <a:schemeClr val="accent2"/>
        </a:buClr>
        <a:buFont typeface="Wingdings" pitchFamily="2" charset="2"/>
        <a:buChar char="§"/>
        <a:defRPr sz="2200">
          <a:solidFill>
            <a:srgbClr val="000000"/>
          </a:solidFill>
          <a:latin typeface="+mn-lt"/>
        </a:defRPr>
      </a:lvl2pPr>
      <a:lvl3pPr marL="1021639" indent="-206213" algn="l" defTabSz="958675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Arial" charset="0"/>
        <a:buChar char="–"/>
        <a:defRPr sz="2000">
          <a:solidFill>
            <a:srgbClr val="000000"/>
          </a:solidFill>
          <a:latin typeface="+mn-lt"/>
        </a:defRPr>
      </a:lvl3pPr>
      <a:lvl4pPr marL="1366393" indent="-181030" algn="l" defTabSz="958675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4pPr>
      <a:lvl5pPr marL="1698536" indent="-158995" algn="l" defTabSz="958675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5pPr>
      <a:lvl6pPr marL="2151911" indent="-158995" algn="l" defTabSz="958675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6pPr>
      <a:lvl7pPr marL="2605251" indent="-158995" algn="l" defTabSz="958675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7pPr>
      <a:lvl8pPr marL="3058636" indent="-158995" algn="l" defTabSz="958675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8pPr>
      <a:lvl9pPr marL="3512004" indent="-158995" algn="l" defTabSz="958675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365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728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094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3446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6819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0190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3567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6913" algn="l" defTabSz="9067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469900"/>
            <a:ext cx="9601200" cy="673100"/>
            <a:chOff x="0" y="418"/>
            <a:chExt cx="5760" cy="397"/>
          </a:xfrm>
        </p:grpSpPr>
        <p:pic>
          <p:nvPicPr>
            <p:cNvPr id="1035" name="Picture 3" descr="Txt_DropShadow"/>
            <p:cNvPicPr>
              <a:picLocks noChangeAspect="1" noChangeArrowheads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2" r="1054"/>
            <a:stretch>
              <a:fillRect/>
            </a:stretch>
          </p:blipFill>
          <p:spPr bwMode="auto">
            <a:xfrm>
              <a:off x="0" y="418"/>
              <a:ext cx="5760" cy="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4"/>
            <p:cNvSpPr>
              <a:spLocks noChangeArrowheads="1"/>
            </p:cNvSpPr>
            <p:nvPr userDrawn="1"/>
          </p:nvSpPr>
          <p:spPr bwMode="auto">
            <a:xfrm>
              <a:off x="0" y="618"/>
              <a:ext cx="5760" cy="91"/>
            </a:xfrm>
            <a:prstGeom prst="rect">
              <a:avLst/>
            </a:prstGeom>
            <a:gradFill rotWithShape="1">
              <a:gsLst>
                <a:gs pos="0">
                  <a:srgbClr val="72B93D"/>
                </a:gs>
                <a:gs pos="100000">
                  <a:srgbClr val="35933E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27" name="Picture 5" descr="90708_Gri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18" b="61028"/>
          <a:stretch>
            <a:fillRect/>
          </a:stretch>
        </p:blipFill>
        <p:spPr bwMode="auto">
          <a:xfrm>
            <a:off x="0" y="1"/>
            <a:ext cx="96012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9" y="1"/>
            <a:ext cx="89630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3651"/>
            <a:ext cx="8686800" cy="12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10" descr="New_Greendisc copy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741363"/>
            <a:ext cx="600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4" descr="Fid_Logo_Grey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325" y="6954838"/>
            <a:ext cx="1368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7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9887" y="7085014"/>
            <a:ext cx="5842001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b" anchorCtr="0" compatLnSpc="1">
            <a:prstTxWarp prst="textNoShape">
              <a:avLst/>
            </a:prstTxWarp>
          </a:bodyPr>
          <a:lstStyle>
            <a:lvl1pPr defTabSz="966702" eaLnBrk="0" hangingPunct="0">
              <a:defRPr sz="1000">
                <a:solidFill>
                  <a:srgbClr val="808080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dirty="0"/>
              <a:t>Fidelity Internal Information</a:t>
            </a:r>
          </a:p>
        </p:txBody>
      </p:sp>
      <p:sp>
        <p:nvSpPr>
          <p:cNvPr id="1033" name="Line 16"/>
          <p:cNvSpPr>
            <a:spLocks noChangeShapeType="1"/>
          </p:cNvSpPr>
          <p:nvPr/>
        </p:nvSpPr>
        <p:spPr bwMode="auto">
          <a:xfrm flipV="1">
            <a:off x="382589" y="7113589"/>
            <a:ext cx="0" cy="161925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4" name="Rectangle 17"/>
          <p:cNvSpPr>
            <a:spLocks noChangeArrowheads="1"/>
          </p:cNvSpPr>
          <p:nvPr/>
        </p:nvSpPr>
        <p:spPr bwMode="auto">
          <a:xfrm>
            <a:off x="73026" y="7080251"/>
            <a:ext cx="339725" cy="23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37" tIns="48319" rIns="96637" bIns="48319" anchor="b"/>
          <a:lstStyle/>
          <a:p>
            <a:pPr defTabSz="966702"/>
            <a:fld id="{53BFF9C3-F274-49E2-B65B-927A666BDDCC}" type="slidenum">
              <a:rPr lang="en-US" sz="1000">
                <a:solidFill>
                  <a:srgbClr val="808080"/>
                </a:solidFill>
              </a:rPr>
              <a:pPr defTabSz="966702"/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270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5" r:id="rId1"/>
    <p:sldLayoutId id="2147485296" r:id="rId2"/>
    <p:sldLayoutId id="2147485297" r:id="rId3"/>
    <p:sldLayoutId id="2147485298" r:id="rId4"/>
    <p:sldLayoutId id="2147485299" r:id="rId5"/>
    <p:sldLayoutId id="2147485300" r:id="rId6"/>
    <p:sldLayoutId id="2147485301" r:id="rId7"/>
    <p:sldLayoutId id="2147485302" r:id="rId8"/>
    <p:sldLayoutId id="2147485303" r:id="rId9"/>
    <p:sldLayoutId id="2147485304" r:id="rId10"/>
    <p:sldLayoutId id="2147485305" r:id="rId11"/>
    <p:sldLayoutId id="2147485306" r:id="rId12"/>
    <p:sldLayoutId id="2147485307" r:id="rId13"/>
    <p:sldLayoutId id="2147485308" r:id="rId14"/>
    <p:sldLayoutId id="2147485309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+mj-lt"/>
          <a:ea typeface="+mj-ea"/>
          <a:cs typeface="+mj-cs"/>
        </a:defRPr>
      </a:lvl1pPr>
      <a:lvl2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2pPr>
      <a:lvl3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3pPr>
      <a:lvl4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4pPr>
      <a:lvl5pPr algn="l" defTabSz="966702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5pPr>
      <a:lvl6pPr marL="45715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6pPr>
      <a:lvl7pPr marL="914319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7pPr>
      <a:lvl8pPr marL="137147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8pPr>
      <a:lvl9pPr marL="1828637" algn="l" defTabSz="966702" rtl="0" fontAlgn="base">
        <a:spcBef>
          <a:spcPct val="0"/>
        </a:spcBef>
        <a:spcAft>
          <a:spcPct val="0"/>
        </a:spcAft>
        <a:defRPr sz="2400" b="1">
          <a:solidFill>
            <a:srgbClr val="006600"/>
          </a:solidFill>
          <a:latin typeface="Arial" pitchFamily="34" charset="0"/>
        </a:defRPr>
      </a:lvl9pPr>
    </p:titleStyle>
    <p:bodyStyle>
      <a:lvl1pPr marL="228580" indent="-22858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 3" pitchFamily="18" charset="2"/>
        <a:buChar char="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17479" indent="-174610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800029" indent="-169847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Arial" charset="0"/>
        <a:buChar char="–"/>
        <a:defRPr sz="1200">
          <a:solidFill>
            <a:srgbClr val="000000"/>
          </a:solidFill>
          <a:latin typeface="+mn-lt"/>
        </a:defRPr>
      </a:lvl3pPr>
      <a:lvl4pPr marL="102860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1000">
          <a:solidFill>
            <a:srgbClr val="000000"/>
          </a:solidFill>
          <a:latin typeface="+mn-lt"/>
        </a:defRPr>
      </a:lvl4pPr>
      <a:lvl5pPr marL="1257188" indent="-114289" algn="l" defTabSz="966702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5pPr>
      <a:lvl6pPr marL="1714348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6pPr>
      <a:lvl7pPr marL="217150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7pPr>
      <a:lvl8pPr marL="2628666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8pPr>
      <a:lvl9pPr marL="3085825" indent="-114289" algn="l" defTabSz="966702" rtl="0" fontAlgn="base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"/>
        <a:defRPr sz="8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7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6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4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18" Type="http://schemas.openxmlformats.org/officeDocument/2006/relationships/diagramData" Target="../diagrams/data5.xml"/><Relationship Id="rId26" Type="http://schemas.openxmlformats.org/officeDocument/2006/relationships/diagramColors" Target="../diagrams/colors6.xml"/><Relationship Id="rId3" Type="http://schemas.openxmlformats.org/officeDocument/2006/relationships/diagramData" Target="../diagrams/data2.xml"/><Relationship Id="rId21" Type="http://schemas.openxmlformats.org/officeDocument/2006/relationships/diagramColors" Target="../diagrams/colors5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5" Type="http://schemas.openxmlformats.org/officeDocument/2006/relationships/diagramQuickStyle" Target="../diagrams/quickStyle6.xml"/><Relationship Id="rId2" Type="http://schemas.openxmlformats.org/officeDocument/2006/relationships/notesSlide" Target="../notesSlides/notesSlide4.xml"/><Relationship Id="rId16" Type="http://schemas.openxmlformats.org/officeDocument/2006/relationships/diagramColors" Target="../diagrams/colors4.xml"/><Relationship Id="rId20" Type="http://schemas.openxmlformats.org/officeDocument/2006/relationships/diagramQuickStyle" Target="../diagrams/quickStyle5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24" Type="http://schemas.openxmlformats.org/officeDocument/2006/relationships/diagramLayout" Target="../diagrams/layout6.xml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23" Type="http://schemas.openxmlformats.org/officeDocument/2006/relationships/diagramData" Target="../diagrams/data6.xml"/><Relationship Id="rId10" Type="http://schemas.openxmlformats.org/officeDocument/2006/relationships/diagramQuickStyle" Target="../diagrams/quickStyle3.xml"/><Relationship Id="rId19" Type="http://schemas.openxmlformats.org/officeDocument/2006/relationships/diagramLayout" Target="../diagrams/layout5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Relationship Id="rId22" Type="http://schemas.microsoft.com/office/2007/relationships/diagramDrawing" Target="../diagrams/drawing5.xml"/><Relationship Id="rId27" Type="http://schemas.microsoft.com/office/2007/relationships/diagramDrawing" Target="../diagrams/drawing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8.xml"/><Relationship Id="rId13" Type="http://schemas.openxmlformats.org/officeDocument/2006/relationships/diagramData" Target="../diagrams/data9.xml"/><Relationship Id="rId18" Type="http://schemas.openxmlformats.org/officeDocument/2006/relationships/diagramData" Target="../diagrams/data10.xml"/><Relationship Id="rId26" Type="http://schemas.openxmlformats.org/officeDocument/2006/relationships/diagramColors" Target="../diagrams/colors11.xml"/><Relationship Id="rId3" Type="http://schemas.openxmlformats.org/officeDocument/2006/relationships/diagramData" Target="../diagrams/data7.xml"/><Relationship Id="rId21" Type="http://schemas.openxmlformats.org/officeDocument/2006/relationships/diagramColors" Target="../diagrams/colors10.xml"/><Relationship Id="rId7" Type="http://schemas.microsoft.com/office/2007/relationships/diagramDrawing" Target="../diagrams/drawing7.xml"/><Relationship Id="rId12" Type="http://schemas.microsoft.com/office/2007/relationships/diagramDrawing" Target="../diagrams/drawing8.xml"/><Relationship Id="rId17" Type="http://schemas.microsoft.com/office/2007/relationships/diagramDrawing" Target="../diagrams/drawing9.xml"/><Relationship Id="rId25" Type="http://schemas.openxmlformats.org/officeDocument/2006/relationships/diagramQuickStyle" Target="../diagrams/quickStyle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9.xml"/><Relationship Id="rId20" Type="http://schemas.openxmlformats.org/officeDocument/2006/relationships/diagramQuickStyle" Target="../diagrams/quickStyle10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7.xml"/><Relationship Id="rId11" Type="http://schemas.openxmlformats.org/officeDocument/2006/relationships/diagramColors" Target="../diagrams/colors8.xml"/><Relationship Id="rId24" Type="http://schemas.openxmlformats.org/officeDocument/2006/relationships/diagramLayout" Target="../diagrams/layout11.xml"/><Relationship Id="rId5" Type="http://schemas.openxmlformats.org/officeDocument/2006/relationships/diagramQuickStyle" Target="../diagrams/quickStyle7.xml"/><Relationship Id="rId15" Type="http://schemas.openxmlformats.org/officeDocument/2006/relationships/diagramQuickStyle" Target="../diagrams/quickStyle9.xml"/><Relationship Id="rId23" Type="http://schemas.openxmlformats.org/officeDocument/2006/relationships/diagramData" Target="../diagrams/data11.xml"/><Relationship Id="rId10" Type="http://schemas.openxmlformats.org/officeDocument/2006/relationships/diagramQuickStyle" Target="../diagrams/quickStyle8.xml"/><Relationship Id="rId19" Type="http://schemas.openxmlformats.org/officeDocument/2006/relationships/diagramLayout" Target="../diagrams/layout10.xml"/><Relationship Id="rId4" Type="http://schemas.openxmlformats.org/officeDocument/2006/relationships/diagramLayout" Target="../diagrams/layout7.xml"/><Relationship Id="rId9" Type="http://schemas.openxmlformats.org/officeDocument/2006/relationships/diagramLayout" Target="../diagrams/layout8.xml"/><Relationship Id="rId14" Type="http://schemas.openxmlformats.org/officeDocument/2006/relationships/diagramLayout" Target="../diagrams/layout9.xml"/><Relationship Id="rId22" Type="http://schemas.microsoft.com/office/2007/relationships/diagramDrawing" Target="../diagrams/drawing10.xml"/><Relationship Id="rId27" Type="http://schemas.microsoft.com/office/2007/relationships/diagramDrawing" Target="../diagrams/drawing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2.xml"/><Relationship Id="rId3" Type="http://schemas.openxmlformats.org/officeDocument/2006/relationships/image" Target="../media/image25.gif"/><Relationship Id="rId7" Type="http://schemas.openxmlformats.org/officeDocument/2006/relationships/diagramLayout" Target="../diagrams/layout1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Relationship Id="rId6" Type="http://schemas.openxmlformats.org/officeDocument/2006/relationships/diagramData" Target="../diagrams/data12.xml"/><Relationship Id="rId5" Type="http://schemas.openxmlformats.org/officeDocument/2006/relationships/image" Target="../media/image27.gif"/><Relationship Id="rId10" Type="http://schemas.microsoft.com/office/2007/relationships/diagramDrawing" Target="../diagrams/drawing12.xml"/><Relationship Id="rId4" Type="http://schemas.openxmlformats.org/officeDocument/2006/relationships/image" Target="../media/image26.gif"/><Relationship Id="rId9" Type="http://schemas.openxmlformats.org/officeDocument/2006/relationships/diagramColors" Target="../diagrams/colors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4.xml"/><Relationship Id="rId13" Type="http://schemas.openxmlformats.org/officeDocument/2006/relationships/diagramData" Target="../diagrams/data15.xml"/><Relationship Id="rId18" Type="http://schemas.openxmlformats.org/officeDocument/2006/relationships/diagramData" Target="../diagrams/data16.xml"/><Relationship Id="rId26" Type="http://schemas.openxmlformats.org/officeDocument/2006/relationships/diagramColors" Target="../diagrams/colors17.xml"/><Relationship Id="rId3" Type="http://schemas.openxmlformats.org/officeDocument/2006/relationships/diagramData" Target="../diagrams/data13.xml"/><Relationship Id="rId21" Type="http://schemas.openxmlformats.org/officeDocument/2006/relationships/diagramColors" Target="../diagrams/colors16.xml"/><Relationship Id="rId7" Type="http://schemas.microsoft.com/office/2007/relationships/diagramDrawing" Target="../diagrams/drawing13.xml"/><Relationship Id="rId12" Type="http://schemas.microsoft.com/office/2007/relationships/diagramDrawing" Target="../diagrams/drawing14.xml"/><Relationship Id="rId17" Type="http://schemas.microsoft.com/office/2007/relationships/diagramDrawing" Target="../diagrams/drawing15.xml"/><Relationship Id="rId25" Type="http://schemas.openxmlformats.org/officeDocument/2006/relationships/diagramQuickStyle" Target="../diagrams/quickStyle17.xml"/><Relationship Id="rId2" Type="http://schemas.openxmlformats.org/officeDocument/2006/relationships/notesSlide" Target="../notesSlides/notesSlide7.xml"/><Relationship Id="rId16" Type="http://schemas.openxmlformats.org/officeDocument/2006/relationships/diagramColors" Target="../diagrams/colors15.xml"/><Relationship Id="rId20" Type="http://schemas.openxmlformats.org/officeDocument/2006/relationships/diagramQuickStyle" Target="../diagrams/quickStyle16.xml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13.xml"/><Relationship Id="rId11" Type="http://schemas.openxmlformats.org/officeDocument/2006/relationships/diagramColors" Target="../diagrams/colors14.xml"/><Relationship Id="rId24" Type="http://schemas.openxmlformats.org/officeDocument/2006/relationships/diagramLayout" Target="../diagrams/layout17.xml"/><Relationship Id="rId5" Type="http://schemas.openxmlformats.org/officeDocument/2006/relationships/diagramQuickStyle" Target="../diagrams/quickStyle13.xml"/><Relationship Id="rId15" Type="http://schemas.openxmlformats.org/officeDocument/2006/relationships/diagramQuickStyle" Target="../diagrams/quickStyle15.xml"/><Relationship Id="rId23" Type="http://schemas.openxmlformats.org/officeDocument/2006/relationships/diagramData" Target="../diagrams/data17.xml"/><Relationship Id="rId10" Type="http://schemas.openxmlformats.org/officeDocument/2006/relationships/diagramQuickStyle" Target="../diagrams/quickStyle14.xml"/><Relationship Id="rId19" Type="http://schemas.openxmlformats.org/officeDocument/2006/relationships/diagramLayout" Target="../diagrams/layout16.xml"/><Relationship Id="rId4" Type="http://schemas.openxmlformats.org/officeDocument/2006/relationships/diagramLayout" Target="../diagrams/layout13.xml"/><Relationship Id="rId9" Type="http://schemas.openxmlformats.org/officeDocument/2006/relationships/diagramLayout" Target="../diagrams/layout14.xml"/><Relationship Id="rId14" Type="http://schemas.openxmlformats.org/officeDocument/2006/relationships/diagramLayout" Target="../diagrams/layout15.xml"/><Relationship Id="rId22" Type="http://schemas.microsoft.com/office/2007/relationships/diagramDrawing" Target="../diagrams/drawing16.xml"/><Relationship Id="rId27" Type="http://schemas.microsoft.com/office/2007/relationships/diagramDrawing" Target="../diagrams/drawing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est Case Iterations</a:t>
            </a:r>
          </a:p>
        </p:txBody>
      </p:sp>
      <p:sp>
        <p:nvSpPr>
          <p:cNvPr id="4099" name="Subtitle 4"/>
          <p:cNvSpPr>
            <a:spLocks noGrp="1"/>
          </p:cNvSpPr>
          <p:nvPr>
            <p:ph type="subTitle" idx="1"/>
          </p:nvPr>
        </p:nvSpPr>
        <p:spPr>
          <a:xfrm>
            <a:off x="603250" y="2151063"/>
            <a:ext cx="8578850" cy="651580"/>
          </a:xfrm>
        </p:spPr>
        <p:txBody>
          <a:bodyPr/>
          <a:lstStyle/>
          <a:p>
            <a:r>
              <a:rPr lang="en-US" sz="3600" dirty="0" smtClean="0"/>
              <a:t>Parallel Execution</a:t>
            </a:r>
          </a:p>
        </p:txBody>
      </p:sp>
      <p:sp>
        <p:nvSpPr>
          <p:cNvPr id="410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0713" y="4810167"/>
            <a:ext cx="3452812" cy="734679"/>
          </a:xfrm>
        </p:spPr>
        <p:txBody>
          <a:bodyPr/>
          <a:lstStyle/>
          <a:p>
            <a:r>
              <a:rPr lang="en-US" dirty="0" smtClean="0"/>
              <a:t>         By</a:t>
            </a:r>
          </a:p>
          <a:p>
            <a:r>
              <a:rPr lang="en-US" dirty="0" smtClean="0"/>
              <a:t>Narasimhulu U</a:t>
            </a:r>
            <a:endParaRPr lang="en-US" dirty="0"/>
          </a:p>
        </p:txBody>
      </p:sp>
      <p:sp>
        <p:nvSpPr>
          <p:cNvPr id="4101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20720" y="381021"/>
            <a:ext cx="2255837" cy="251470"/>
          </a:xfrm>
        </p:spPr>
        <p:txBody>
          <a:bodyPr/>
          <a:lstStyle/>
          <a:p>
            <a:pPr eaLnBrk="1" hangingPunct="1"/>
            <a:r>
              <a:rPr lang="en-US" dirty="0" smtClean="0"/>
              <a:t>Personal Investing</a:t>
            </a:r>
          </a:p>
        </p:txBody>
      </p:sp>
    </p:spTree>
    <p:extLst>
      <p:ext uri="{BB962C8B-B14F-4D97-AF65-F5344CB8AC3E}">
        <p14:creationId xmlns:p14="http://schemas.microsoft.com/office/powerpoint/2010/main" val="43275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smtClean="0"/>
              <a:t>Multi Tasking</a:t>
            </a:r>
            <a:endParaRPr lang="en-US" sz="2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Fidelity Internal Information</a:t>
            </a:r>
            <a:endParaRPr lang="en-US" dirty="0"/>
          </a:p>
        </p:txBody>
      </p:sp>
      <p:pic>
        <p:nvPicPr>
          <p:cNvPr id="7174" name="Picture 6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410" y="1472729"/>
            <a:ext cx="2400937" cy="2390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000" y="4599777"/>
            <a:ext cx="3001075" cy="1998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24" y="1306638"/>
            <a:ext cx="2722451" cy="2722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1764" y="4713279"/>
            <a:ext cx="2827728" cy="188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8526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1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7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smtClean="0"/>
              <a:t>Test Case Structure &amp; Problem Statement</a:t>
            </a:r>
            <a:endParaRPr lang="en-US" sz="22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436101"/>
              </p:ext>
            </p:extLst>
          </p:nvPr>
        </p:nvGraphicFramePr>
        <p:xfrm>
          <a:off x="4171949" y="4300536"/>
          <a:ext cx="4829175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5835"/>
                <a:gridCol w="965835"/>
                <a:gridCol w="965835"/>
                <a:gridCol w="965835"/>
                <a:gridCol w="965835"/>
              </a:tblGrid>
              <a:tr h="232996">
                <a:tc gridSpan="5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Test Case 1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25629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teration 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</a:tr>
              <a:tr h="25629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teration</a:t>
                      </a:r>
                      <a:r>
                        <a:rPr lang="en-US" sz="1200" baseline="0" dirty="0" smtClean="0"/>
                        <a:t> 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  <a:tr h="25629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teration</a:t>
                      </a:r>
                      <a:r>
                        <a:rPr lang="en-US" sz="1200" baseline="0" dirty="0" smtClean="0"/>
                        <a:t> 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  <a:tr h="25629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teration 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  <a:tr h="25629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teration 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Notched Right Arrow 12"/>
          <p:cNvSpPr/>
          <p:nvPr/>
        </p:nvSpPr>
        <p:spPr bwMode="auto">
          <a:xfrm>
            <a:off x="3505305" y="4343204"/>
            <a:ext cx="552345" cy="304800"/>
          </a:xfrm>
          <a:prstGeom prst="notchedRightArrow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" name="Left Brace 3"/>
          <p:cNvSpPr/>
          <p:nvPr/>
        </p:nvSpPr>
        <p:spPr bwMode="auto">
          <a:xfrm>
            <a:off x="3505305" y="1326355"/>
            <a:ext cx="304800" cy="614363"/>
          </a:xfrm>
          <a:prstGeom prst="leftBrace">
            <a:avLst/>
          </a:prstGeom>
          <a:noFill/>
          <a:ln w="254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9" name="Left Brace 8"/>
          <p:cNvSpPr/>
          <p:nvPr/>
        </p:nvSpPr>
        <p:spPr bwMode="auto">
          <a:xfrm>
            <a:off x="1590883" y="4120609"/>
            <a:ext cx="476144" cy="2216944"/>
          </a:xfrm>
          <a:prstGeom prst="leftBrace">
            <a:avLst/>
          </a:prstGeom>
          <a:noFill/>
          <a:ln w="254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2" name="Left Brace 11"/>
          <p:cNvSpPr/>
          <p:nvPr/>
        </p:nvSpPr>
        <p:spPr bwMode="auto">
          <a:xfrm rot="10800000">
            <a:off x="5210173" y="4662240"/>
            <a:ext cx="457200" cy="1462333"/>
          </a:xfrm>
          <a:prstGeom prst="leftBrace">
            <a:avLst/>
          </a:prstGeom>
          <a:noFill/>
          <a:ln w="254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1099794693"/>
              </p:ext>
            </p:extLst>
          </p:nvPr>
        </p:nvGraphicFramePr>
        <p:xfrm>
          <a:off x="362104" y="1350167"/>
          <a:ext cx="7286625" cy="51387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8054" y="1249855"/>
            <a:ext cx="1057121" cy="1162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562" y="4648003"/>
            <a:ext cx="1057121" cy="1162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4564" y="4676777"/>
            <a:ext cx="1243012" cy="1386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1556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71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 animBg="1"/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9088" y="1"/>
            <a:ext cx="7596187" cy="878439"/>
          </a:xfrm>
        </p:spPr>
        <p:txBody>
          <a:bodyPr/>
          <a:lstStyle/>
          <a:p>
            <a:r>
              <a:rPr lang="en-US" dirty="0" smtClean="0"/>
              <a:t>Existing Flow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045891005"/>
              </p:ext>
            </p:extLst>
          </p:nvPr>
        </p:nvGraphicFramePr>
        <p:xfrm>
          <a:off x="819378" y="2266314"/>
          <a:ext cx="5974080" cy="3105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117379142"/>
              </p:ext>
            </p:extLst>
          </p:nvPr>
        </p:nvGraphicFramePr>
        <p:xfrm>
          <a:off x="5169464" y="2864092"/>
          <a:ext cx="1740320" cy="22861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555256557"/>
              </p:ext>
            </p:extLst>
          </p:nvPr>
        </p:nvGraphicFramePr>
        <p:xfrm>
          <a:off x="3111060" y="2851292"/>
          <a:ext cx="1740320" cy="22861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4088941494"/>
              </p:ext>
            </p:extLst>
          </p:nvPr>
        </p:nvGraphicFramePr>
        <p:xfrm>
          <a:off x="990827" y="2851292"/>
          <a:ext cx="1740320" cy="22861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727056" y="2379374"/>
            <a:ext cx="772628" cy="641076"/>
            <a:chOff x="0" y="254"/>
            <a:chExt cx="1253490" cy="99307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0" name="Rounded Rectangle 9"/>
            <p:cNvSpPr/>
            <p:nvPr/>
          </p:nvSpPr>
          <p:spPr>
            <a:xfrm>
              <a:off x="0" y="254"/>
              <a:ext cx="1253490" cy="993078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ounded Rectangle 4"/>
            <p:cNvSpPr/>
            <p:nvPr/>
          </p:nvSpPr>
          <p:spPr>
            <a:xfrm>
              <a:off x="48478" y="48732"/>
              <a:ext cx="1156534" cy="89612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60960" rIns="121920" bIns="6096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kern="1200" dirty="0" smtClean="0"/>
                <a:t>TC 1</a:t>
              </a:r>
            </a:p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dirty="0" smtClean="0"/>
                <a:t>2 PM</a:t>
              </a:r>
              <a:endParaRPr lang="en-US" sz="1400" b="1" kern="1200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853287" y="2407949"/>
            <a:ext cx="772628" cy="641076"/>
            <a:chOff x="0" y="254"/>
            <a:chExt cx="1253490" cy="99307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3" name="Rounded Rectangle 12"/>
            <p:cNvSpPr/>
            <p:nvPr/>
          </p:nvSpPr>
          <p:spPr>
            <a:xfrm>
              <a:off x="0" y="254"/>
              <a:ext cx="1253490" cy="993078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ounded Rectangle 4"/>
            <p:cNvSpPr/>
            <p:nvPr/>
          </p:nvSpPr>
          <p:spPr>
            <a:xfrm>
              <a:off x="48478" y="48732"/>
              <a:ext cx="1156534" cy="89612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60960" rIns="121920" bIns="6096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kern="1200" dirty="0" smtClean="0"/>
                <a:t>TC 2</a:t>
              </a:r>
            </a:p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dirty="0" smtClean="0"/>
                <a:t>2 PM</a:t>
              </a:r>
              <a:endParaRPr lang="en-US" sz="1400" b="1" kern="1200" dirty="0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918056" y="2376655"/>
            <a:ext cx="772628" cy="641076"/>
            <a:chOff x="0" y="254"/>
            <a:chExt cx="1253490" cy="99307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6" name="Rounded Rectangle 15"/>
            <p:cNvSpPr/>
            <p:nvPr/>
          </p:nvSpPr>
          <p:spPr>
            <a:xfrm>
              <a:off x="0" y="254"/>
              <a:ext cx="1253490" cy="993078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ounded Rectangle 4"/>
            <p:cNvSpPr/>
            <p:nvPr/>
          </p:nvSpPr>
          <p:spPr>
            <a:xfrm>
              <a:off x="48478" y="48732"/>
              <a:ext cx="1156534" cy="89612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60960" rIns="121920" bIns="6096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kern="1200" dirty="0" smtClean="0"/>
                <a:t>TC 3</a:t>
              </a:r>
            </a:p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dirty="0" smtClean="0"/>
                <a:t>2 PM</a:t>
              </a:r>
              <a:endParaRPr lang="en-US" sz="1400" b="1" kern="1200" dirty="0"/>
            </a:p>
          </p:txBody>
        </p:sp>
      </p:grpSp>
      <p:graphicFrame>
        <p:nvGraphicFramePr>
          <p:cNvPr id="43" name="Diagram 42"/>
          <p:cNvGraphicFramePr/>
          <p:nvPr>
            <p:extLst>
              <p:ext uri="{D42A27DB-BD31-4B8C-83A1-F6EECF244321}">
                <p14:modId xmlns:p14="http://schemas.microsoft.com/office/powerpoint/2010/main" val="2184038707"/>
              </p:ext>
            </p:extLst>
          </p:nvPr>
        </p:nvGraphicFramePr>
        <p:xfrm>
          <a:off x="6287807" y="2777730"/>
          <a:ext cx="3838574" cy="23701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</p:spTree>
    <p:extLst>
      <p:ext uri="{BB962C8B-B14F-4D97-AF65-F5344CB8AC3E}">
        <p14:creationId xmlns:p14="http://schemas.microsoft.com/office/powerpoint/2010/main" val="3869376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9088" y="1"/>
            <a:ext cx="5704507" cy="878439"/>
          </a:xfrm>
        </p:spPr>
        <p:txBody>
          <a:bodyPr/>
          <a:lstStyle/>
          <a:p>
            <a:r>
              <a:rPr lang="en-US" dirty="0" smtClean="0"/>
              <a:t>New </a:t>
            </a:r>
            <a:r>
              <a:rPr lang="en-US" dirty="0"/>
              <a:t>Solution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622058725"/>
              </p:ext>
            </p:extLst>
          </p:nvPr>
        </p:nvGraphicFramePr>
        <p:xfrm>
          <a:off x="741490" y="2093946"/>
          <a:ext cx="5974080" cy="3105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649168" y="2207006"/>
            <a:ext cx="772628" cy="641076"/>
            <a:chOff x="0" y="254"/>
            <a:chExt cx="1253490" cy="99307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0" name="Rounded Rectangle 9"/>
            <p:cNvSpPr/>
            <p:nvPr/>
          </p:nvSpPr>
          <p:spPr>
            <a:xfrm>
              <a:off x="0" y="254"/>
              <a:ext cx="1253490" cy="993078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ounded Rectangle 4"/>
            <p:cNvSpPr/>
            <p:nvPr/>
          </p:nvSpPr>
          <p:spPr>
            <a:xfrm>
              <a:off x="48478" y="48732"/>
              <a:ext cx="1156534" cy="89612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60960" rIns="121920" bIns="6096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kern="1200" dirty="0" smtClean="0"/>
                <a:t>TC 1</a:t>
              </a:r>
            </a:p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dirty="0" smtClean="0"/>
                <a:t>2 PM</a:t>
              </a:r>
              <a:endParaRPr lang="en-US" sz="1400" b="1" kern="1200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775399" y="2235581"/>
            <a:ext cx="772628" cy="641076"/>
            <a:chOff x="0" y="254"/>
            <a:chExt cx="1253490" cy="99307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3" name="Rounded Rectangle 12"/>
            <p:cNvSpPr/>
            <p:nvPr/>
          </p:nvSpPr>
          <p:spPr>
            <a:xfrm>
              <a:off x="0" y="254"/>
              <a:ext cx="1253490" cy="993078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ounded Rectangle 4"/>
            <p:cNvSpPr/>
            <p:nvPr/>
          </p:nvSpPr>
          <p:spPr>
            <a:xfrm>
              <a:off x="48478" y="48732"/>
              <a:ext cx="1156534" cy="89612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60960" rIns="121920" bIns="6096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kern="1200" dirty="0" smtClean="0"/>
                <a:t>TC 2</a:t>
              </a:r>
            </a:p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dirty="0" smtClean="0"/>
                <a:t>2 PM</a:t>
              </a:r>
              <a:endParaRPr lang="en-US" sz="1400" b="1" kern="1200" dirty="0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840168" y="2204287"/>
            <a:ext cx="772628" cy="641076"/>
            <a:chOff x="0" y="254"/>
            <a:chExt cx="1253490" cy="99307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6" name="Rounded Rectangle 15"/>
            <p:cNvSpPr/>
            <p:nvPr/>
          </p:nvSpPr>
          <p:spPr>
            <a:xfrm>
              <a:off x="0" y="254"/>
              <a:ext cx="1253490" cy="993078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ounded Rectangle 4"/>
            <p:cNvSpPr/>
            <p:nvPr/>
          </p:nvSpPr>
          <p:spPr>
            <a:xfrm>
              <a:off x="48478" y="48732"/>
              <a:ext cx="1156534" cy="89612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60960" rIns="121920" bIns="6096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kern="1200" dirty="0" smtClean="0"/>
                <a:t>TC 3</a:t>
              </a:r>
            </a:p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dirty="0" smtClean="0"/>
                <a:t>2 PM</a:t>
              </a:r>
              <a:endParaRPr lang="en-US" sz="1400" b="1" kern="1200" dirty="0"/>
            </a:p>
          </p:txBody>
        </p:sp>
      </p:grpSp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3358748689"/>
              </p:ext>
            </p:extLst>
          </p:nvPr>
        </p:nvGraphicFramePr>
        <p:xfrm>
          <a:off x="3245283" y="3010007"/>
          <a:ext cx="1269186" cy="4235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45" name="Diagram 44"/>
          <p:cNvGraphicFramePr/>
          <p:nvPr>
            <p:extLst>
              <p:ext uri="{D42A27DB-BD31-4B8C-83A1-F6EECF244321}">
                <p14:modId xmlns:p14="http://schemas.microsoft.com/office/powerpoint/2010/main" val="1577842647"/>
              </p:ext>
            </p:extLst>
          </p:nvPr>
        </p:nvGraphicFramePr>
        <p:xfrm>
          <a:off x="5321733" y="3000482"/>
          <a:ext cx="1269186" cy="4235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58" name="Diagram 57"/>
          <p:cNvGraphicFramePr/>
          <p:nvPr>
            <p:extLst>
              <p:ext uri="{D42A27DB-BD31-4B8C-83A1-F6EECF244321}">
                <p14:modId xmlns:p14="http://schemas.microsoft.com/office/powerpoint/2010/main" val="2382041035"/>
              </p:ext>
            </p:extLst>
          </p:nvPr>
        </p:nvGraphicFramePr>
        <p:xfrm>
          <a:off x="1153403" y="2978225"/>
          <a:ext cx="1269186" cy="4235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pSp>
        <p:nvGrpSpPr>
          <p:cNvPr id="71" name="Diagram group"/>
          <p:cNvGrpSpPr/>
          <p:nvPr/>
        </p:nvGrpSpPr>
        <p:grpSpPr>
          <a:xfrm>
            <a:off x="6225824" y="3142046"/>
            <a:ext cx="300394" cy="1896446"/>
            <a:chOff x="45148" y="913686"/>
            <a:chExt cx="442078" cy="2363627"/>
          </a:xfrm>
          <a:scene3d>
            <a:camera prst="perspectiveRelaxedModerately" zoom="92000"/>
            <a:lightRig rig="balanced" dir="t">
              <a:rot lat="0" lon="0" rev="12700000"/>
            </a:lightRig>
          </a:scene3d>
        </p:grpSpPr>
        <p:grpSp>
          <p:nvGrpSpPr>
            <p:cNvPr id="72" name="Group 71"/>
            <p:cNvGrpSpPr/>
            <p:nvPr/>
          </p:nvGrpSpPr>
          <p:grpSpPr>
            <a:xfrm>
              <a:off x="45148" y="913686"/>
              <a:ext cx="442078" cy="2363627"/>
              <a:chOff x="45148" y="913686"/>
              <a:chExt cx="442078" cy="2363627"/>
            </a:xfrm>
          </p:grpSpPr>
          <p:sp>
            <p:nvSpPr>
              <p:cNvPr id="73" name="Round Same Side Corner Rectangle 72"/>
              <p:cNvSpPr/>
              <p:nvPr/>
            </p:nvSpPr>
            <p:spPr>
              <a:xfrm rot="10800000">
                <a:off x="45148" y="913686"/>
                <a:ext cx="442078" cy="2363627"/>
              </a:xfrm>
              <a:prstGeom prst="round2SameRect">
                <a:avLst>
                  <a:gd name="adj1" fmla="val 10500"/>
                  <a:gd name="adj2" fmla="val 0"/>
                </a:avLst>
              </a:prstGeom>
              <a:sp3d prstMaterial="plastic">
                <a:bevelT w="50800" h="50800"/>
                <a:bevelB w="50800" h="50800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Round Same Side Corner Rectangle 4"/>
              <p:cNvSpPr/>
              <p:nvPr/>
            </p:nvSpPr>
            <p:spPr>
              <a:xfrm rot="21600000">
                <a:off x="58743" y="913686"/>
                <a:ext cx="414888" cy="235003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35128" tIns="135128" rIns="135128" bIns="135128" numCol="1" spcCol="1270" anchor="t" anchorCtr="0">
                <a:noAutofit/>
              </a:bodyPr>
              <a:lstStyle/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900" kern="1200" dirty="0" smtClean="0"/>
              </a:p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900" kern="1200" dirty="0" smtClean="0"/>
                  <a:t>3	</a:t>
                </a:r>
                <a:endParaRPr lang="en-US" sz="1900" kern="1200" dirty="0"/>
              </a:p>
            </p:txBody>
          </p:sp>
        </p:grpSp>
      </p:grpSp>
      <p:grpSp>
        <p:nvGrpSpPr>
          <p:cNvPr id="75" name="Diagram group"/>
          <p:cNvGrpSpPr/>
          <p:nvPr/>
        </p:nvGrpSpPr>
        <p:grpSpPr>
          <a:xfrm>
            <a:off x="5806724" y="3140663"/>
            <a:ext cx="300394" cy="1896446"/>
            <a:chOff x="45148" y="913686"/>
            <a:chExt cx="442078" cy="2363627"/>
          </a:xfrm>
          <a:scene3d>
            <a:camera prst="perspectiveRelaxedModerately" zoom="92000"/>
            <a:lightRig rig="balanced" dir="t">
              <a:rot lat="0" lon="0" rev="12700000"/>
            </a:lightRig>
          </a:scene3d>
        </p:grpSpPr>
        <p:grpSp>
          <p:nvGrpSpPr>
            <p:cNvPr id="76" name="Group 75"/>
            <p:cNvGrpSpPr/>
            <p:nvPr/>
          </p:nvGrpSpPr>
          <p:grpSpPr>
            <a:xfrm>
              <a:off x="45148" y="913686"/>
              <a:ext cx="442078" cy="2363627"/>
              <a:chOff x="45148" y="913686"/>
              <a:chExt cx="442078" cy="2363627"/>
            </a:xfrm>
          </p:grpSpPr>
          <p:sp>
            <p:nvSpPr>
              <p:cNvPr id="77" name="Round Same Side Corner Rectangle 76"/>
              <p:cNvSpPr/>
              <p:nvPr/>
            </p:nvSpPr>
            <p:spPr>
              <a:xfrm rot="10800000">
                <a:off x="45148" y="913686"/>
                <a:ext cx="442078" cy="2363627"/>
              </a:xfrm>
              <a:prstGeom prst="round2SameRect">
                <a:avLst>
                  <a:gd name="adj1" fmla="val 10500"/>
                  <a:gd name="adj2" fmla="val 0"/>
                </a:avLst>
              </a:prstGeom>
              <a:sp3d prstMaterial="plastic">
                <a:bevelT w="50800" h="50800"/>
                <a:bevelB w="50800" h="50800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8" name="Round Same Side Corner Rectangle 4"/>
              <p:cNvSpPr/>
              <p:nvPr/>
            </p:nvSpPr>
            <p:spPr>
              <a:xfrm rot="21600000">
                <a:off x="58743" y="913686"/>
                <a:ext cx="414888" cy="235003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35128" tIns="135128" rIns="135128" bIns="135128" numCol="1" spcCol="1270" anchor="t" anchorCtr="0">
                <a:noAutofit/>
              </a:bodyPr>
              <a:lstStyle/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900" kern="1200" dirty="0" smtClean="0"/>
              </a:p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900" kern="1200" dirty="0" smtClean="0"/>
                  <a:t>2	</a:t>
                </a:r>
                <a:endParaRPr lang="en-US" sz="1900" kern="1200" dirty="0"/>
              </a:p>
            </p:txBody>
          </p:sp>
        </p:grpSp>
      </p:grpSp>
      <p:grpSp>
        <p:nvGrpSpPr>
          <p:cNvPr id="79" name="Diagram group"/>
          <p:cNvGrpSpPr/>
          <p:nvPr/>
        </p:nvGrpSpPr>
        <p:grpSpPr>
          <a:xfrm>
            <a:off x="5404143" y="3135728"/>
            <a:ext cx="300394" cy="1896446"/>
            <a:chOff x="45148" y="913686"/>
            <a:chExt cx="442078" cy="2363627"/>
          </a:xfrm>
          <a:scene3d>
            <a:camera prst="perspectiveRelaxedModerately" zoom="92000"/>
            <a:lightRig rig="balanced" dir="t">
              <a:rot lat="0" lon="0" rev="12700000"/>
            </a:lightRig>
          </a:scene3d>
        </p:grpSpPr>
        <p:grpSp>
          <p:nvGrpSpPr>
            <p:cNvPr id="80" name="Group 79"/>
            <p:cNvGrpSpPr/>
            <p:nvPr/>
          </p:nvGrpSpPr>
          <p:grpSpPr>
            <a:xfrm>
              <a:off x="45148" y="913686"/>
              <a:ext cx="442078" cy="2363627"/>
              <a:chOff x="45148" y="913686"/>
              <a:chExt cx="442078" cy="2363627"/>
            </a:xfrm>
          </p:grpSpPr>
          <p:sp>
            <p:nvSpPr>
              <p:cNvPr id="81" name="Round Same Side Corner Rectangle 80"/>
              <p:cNvSpPr/>
              <p:nvPr/>
            </p:nvSpPr>
            <p:spPr>
              <a:xfrm rot="10800000">
                <a:off x="45148" y="913686"/>
                <a:ext cx="442078" cy="2363627"/>
              </a:xfrm>
              <a:prstGeom prst="round2SameRect">
                <a:avLst>
                  <a:gd name="adj1" fmla="val 10500"/>
                  <a:gd name="adj2" fmla="val 0"/>
                </a:avLst>
              </a:prstGeom>
              <a:sp3d prstMaterial="plastic">
                <a:bevelT w="50800" h="50800"/>
                <a:bevelB w="50800" h="50800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2" name="Round Same Side Corner Rectangle 4"/>
              <p:cNvSpPr/>
              <p:nvPr/>
            </p:nvSpPr>
            <p:spPr>
              <a:xfrm rot="21600000">
                <a:off x="58743" y="913686"/>
                <a:ext cx="414888" cy="235003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35128" tIns="135128" rIns="135128" bIns="135128" numCol="1" spcCol="1270" anchor="t" anchorCtr="0">
                <a:noAutofit/>
              </a:bodyPr>
              <a:lstStyle/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900" kern="1200" dirty="0" smtClean="0"/>
              </a:p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900" kern="1200" dirty="0" smtClean="0"/>
                  <a:t>1	</a:t>
                </a:r>
                <a:endParaRPr lang="en-US" sz="1900" kern="1200" dirty="0"/>
              </a:p>
            </p:txBody>
          </p:sp>
        </p:grpSp>
      </p:grpSp>
      <p:grpSp>
        <p:nvGrpSpPr>
          <p:cNvPr id="83" name="Diagram group"/>
          <p:cNvGrpSpPr/>
          <p:nvPr/>
        </p:nvGrpSpPr>
        <p:grpSpPr>
          <a:xfrm>
            <a:off x="4139849" y="3161096"/>
            <a:ext cx="300394" cy="1896446"/>
            <a:chOff x="45148" y="913686"/>
            <a:chExt cx="442078" cy="2363627"/>
          </a:xfrm>
          <a:scene3d>
            <a:camera prst="perspectiveRelaxedModerately" zoom="92000"/>
            <a:lightRig rig="balanced" dir="t">
              <a:rot lat="0" lon="0" rev="12700000"/>
            </a:lightRig>
          </a:scene3d>
        </p:grpSpPr>
        <p:grpSp>
          <p:nvGrpSpPr>
            <p:cNvPr id="84" name="Group 83"/>
            <p:cNvGrpSpPr/>
            <p:nvPr/>
          </p:nvGrpSpPr>
          <p:grpSpPr>
            <a:xfrm>
              <a:off x="45148" y="913686"/>
              <a:ext cx="442078" cy="2363627"/>
              <a:chOff x="45148" y="913686"/>
              <a:chExt cx="442078" cy="2363627"/>
            </a:xfrm>
          </p:grpSpPr>
          <p:sp>
            <p:nvSpPr>
              <p:cNvPr id="85" name="Round Same Side Corner Rectangle 84"/>
              <p:cNvSpPr/>
              <p:nvPr/>
            </p:nvSpPr>
            <p:spPr>
              <a:xfrm rot="10800000">
                <a:off x="45148" y="913686"/>
                <a:ext cx="442078" cy="2363627"/>
              </a:xfrm>
              <a:prstGeom prst="round2SameRect">
                <a:avLst>
                  <a:gd name="adj1" fmla="val 10500"/>
                  <a:gd name="adj2" fmla="val 0"/>
                </a:avLst>
              </a:prstGeom>
              <a:sp3d prstMaterial="plastic">
                <a:bevelT w="50800" h="50800"/>
                <a:bevelB w="50800" h="50800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6" name="Round Same Side Corner Rectangle 4"/>
              <p:cNvSpPr/>
              <p:nvPr/>
            </p:nvSpPr>
            <p:spPr>
              <a:xfrm rot="21600000">
                <a:off x="58743" y="913686"/>
                <a:ext cx="414888" cy="235003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35128" tIns="135128" rIns="135128" bIns="135128" numCol="1" spcCol="1270" anchor="t" anchorCtr="0">
                <a:noAutofit/>
              </a:bodyPr>
              <a:lstStyle/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900" kern="1200" dirty="0" smtClean="0"/>
              </a:p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900" kern="1200" dirty="0" smtClean="0"/>
                  <a:t>3	</a:t>
                </a:r>
                <a:endParaRPr lang="en-US" sz="1900" kern="1200" dirty="0"/>
              </a:p>
            </p:txBody>
          </p:sp>
        </p:grpSp>
      </p:grpSp>
      <p:grpSp>
        <p:nvGrpSpPr>
          <p:cNvPr id="87" name="Diagram group"/>
          <p:cNvGrpSpPr/>
          <p:nvPr/>
        </p:nvGrpSpPr>
        <p:grpSpPr>
          <a:xfrm>
            <a:off x="3720749" y="3159713"/>
            <a:ext cx="300394" cy="1896446"/>
            <a:chOff x="45148" y="913686"/>
            <a:chExt cx="442078" cy="2363627"/>
          </a:xfrm>
          <a:scene3d>
            <a:camera prst="perspectiveRelaxedModerately" zoom="92000"/>
            <a:lightRig rig="balanced" dir="t">
              <a:rot lat="0" lon="0" rev="12700000"/>
            </a:lightRig>
          </a:scene3d>
        </p:grpSpPr>
        <p:grpSp>
          <p:nvGrpSpPr>
            <p:cNvPr id="88" name="Group 87"/>
            <p:cNvGrpSpPr/>
            <p:nvPr/>
          </p:nvGrpSpPr>
          <p:grpSpPr>
            <a:xfrm>
              <a:off x="45148" y="913686"/>
              <a:ext cx="442078" cy="2363627"/>
              <a:chOff x="45148" y="913686"/>
              <a:chExt cx="442078" cy="2363627"/>
            </a:xfrm>
          </p:grpSpPr>
          <p:sp>
            <p:nvSpPr>
              <p:cNvPr id="89" name="Round Same Side Corner Rectangle 88"/>
              <p:cNvSpPr/>
              <p:nvPr/>
            </p:nvSpPr>
            <p:spPr>
              <a:xfrm rot="10800000">
                <a:off x="45148" y="913686"/>
                <a:ext cx="442078" cy="2363627"/>
              </a:xfrm>
              <a:prstGeom prst="round2SameRect">
                <a:avLst>
                  <a:gd name="adj1" fmla="val 10500"/>
                  <a:gd name="adj2" fmla="val 0"/>
                </a:avLst>
              </a:prstGeom>
              <a:sp3d prstMaterial="plastic">
                <a:bevelT w="50800" h="50800"/>
                <a:bevelB w="50800" h="50800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0" name="Round Same Side Corner Rectangle 4"/>
              <p:cNvSpPr/>
              <p:nvPr/>
            </p:nvSpPr>
            <p:spPr>
              <a:xfrm rot="21600000">
                <a:off x="58743" y="913686"/>
                <a:ext cx="414888" cy="235003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35128" tIns="135128" rIns="135128" bIns="135128" numCol="1" spcCol="1270" anchor="t" anchorCtr="0">
                <a:noAutofit/>
              </a:bodyPr>
              <a:lstStyle/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900" kern="1200" dirty="0" smtClean="0"/>
              </a:p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900" kern="1200" dirty="0" smtClean="0"/>
                  <a:t>2	</a:t>
                </a:r>
                <a:endParaRPr lang="en-US" sz="1900" kern="1200" dirty="0"/>
              </a:p>
            </p:txBody>
          </p:sp>
        </p:grpSp>
      </p:grpSp>
      <p:grpSp>
        <p:nvGrpSpPr>
          <p:cNvPr id="91" name="Diagram group"/>
          <p:cNvGrpSpPr/>
          <p:nvPr/>
        </p:nvGrpSpPr>
        <p:grpSpPr>
          <a:xfrm>
            <a:off x="3318168" y="3154778"/>
            <a:ext cx="300394" cy="1896446"/>
            <a:chOff x="45148" y="913686"/>
            <a:chExt cx="442078" cy="2363627"/>
          </a:xfrm>
          <a:scene3d>
            <a:camera prst="perspectiveRelaxedModerately" zoom="92000"/>
            <a:lightRig rig="balanced" dir="t">
              <a:rot lat="0" lon="0" rev="12700000"/>
            </a:lightRig>
          </a:scene3d>
        </p:grpSpPr>
        <p:grpSp>
          <p:nvGrpSpPr>
            <p:cNvPr id="92" name="Group 91"/>
            <p:cNvGrpSpPr/>
            <p:nvPr/>
          </p:nvGrpSpPr>
          <p:grpSpPr>
            <a:xfrm>
              <a:off x="45148" y="913686"/>
              <a:ext cx="442078" cy="2363627"/>
              <a:chOff x="45148" y="913686"/>
              <a:chExt cx="442078" cy="2363627"/>
            </a:xfrm>
          </p:grpSpPr>
          <p:sp>
            <p:nvSpPr>
              <p:cNvPr id="93" name="Round Same Side Corner Rectangle 92"/>
              <p:cNvSpPr/>
              <p:nvPr/>
            </p:nvSpPr>
            <p:spPr>
              <a:xfrm rot="10800000">
                <a:off x="45148" y="913686"/>
                <a:ext cx="442078" cy="2363627"/>
              </a:xfrm>
              <a:prstGeom prst="round2SameRect">
                <a:avLst>
                  <a:gd name="adj1" fmla="val 10500"/>
                  <a:gd name="adj2" fmla="val 0"/>
                </a:avLst>
              </a:prstGeom>
              <a:sp3d prstMaterial="plastic">
                <a:bevelT w="50800" h="50800"/>
                <a:bevelB w="50800" h="50800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4" name="Round Same Side Corner Rectangle 4"/>
              <p:cNvSpPr/>
              <p:nvPr/>
            </p:nvSpPr>
            <p:spPr>
              <a:xfrm rot="21600000">
                <a:off x="58743" y="913686"/>
                <a:ext cx="414888" cy="235003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35128" tIns="135128" rIns="135128" bIns="135128" numCol="1" spcCol="1270" anchor="t" anchorCtr="0">
                <a:noAutofit/>
              </a:bodyPr>
              <a:lstStyle/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900" kern="1200" dirty="0" smtClean="0"/>
              </a:p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900" kern="1200" dirty="0" smtClean="0"/>
                  <a:t>1	</a:t>
                </a:r>
                <a:endParaRPr lang="en-US" sz="1900" kern="1200" dirty="0"/>
              </a:p>
            </p:txBody>
          </p:sp>
        </p:grpSp>
      </p:grpSp>
      <p:grpSp>
        <p:nvGrpSpPr>
          <p:cNvPr id="95" name="Diagram group"/>
          <p:cNvGrpSpPr/>
          <p:nvPr/>
        </p:nvGrpSpPr>
        <p:grpSpPr>
          <a:xfrm>
            <a:off x="2044349" y="3112773"/>
            <a:ext cx="300394" cy="1896446"/>
            <a:chOff x="45148" y="913686"/>
            <a:chExt cx="442078" cy="2363627"/>
          </a:xfrm>
          <a:scene3d>
            <a:camera prst="perspectiveRelaxedModerately" zoom="92000"/>
            <a:lightRig rig="balanced" dir="t">
              <a:rot lat="0" lon="0" rev="12700000"/>
            </a:lightRig>
          </a:scene3d>
        </p:grpSpPr>
        <p:grpSp>
          <p:nvGrpSpPr>
            <p:cNvPr id="96" name="Group 95"/>
            <p:cNvGrpSpPr/>
            <p:nvPr/>
          </p:nvGrpSpPr>
          <p:grpSpPr>
            <a:xfrm>
              <a:off x="45148" y="913686"/>
              <a:ext cx="442078" cy="2363627"/>
              <a:chOff x="45148" y="913686"/>
              <a:chExt cx="442078" cy="2363627"/>
            </a:xfrm>
          </p:grpSpPr>
          <p:sp>
            <p:nvSpPr>
              <p:cNvPr id="97" name="Round Same Side Corner Rectangle 96"/>
              <p:cNvSpPr/>
              <p:nvPr/>
            </p:nvSpPr>
            <p:spPr>
              <a:xfrm rot="10800000">
                <a:off x="45148" y="913686"/>
                <a:ext cx="442078" cy="2363627"/>
              </a:xfrm>
              <a:prstGeom prst="round2SameRect">
                <a:avLst>
                  <a:gd name="adj1" fmla="val 10500"/>
                  <a:gd name="adj2" fmla="val 0"/>
                </a:avLst>
              </a:prstGeom>
              <a:sp3d prstMaterial="plastic">
                <a:bevelT w="50800" h="50800"/>
                <a:bevelB w="50800" h="50800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8" name="Round Same Side Corner Rectangle 4"/>
              <p:cNvSpPr/>
              <p:nvPr/>
            </p:nvSpPr>
            <p:spPr>
              <a:xfrm rot="21600000">
                <a:off x="58743" y="913686"/>
                <a:ext cx="414888" cy="235003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35128" tIns="135128" rIns="135128" bIns="135128" numCol="1" spcCol="1270" anchor="t" anchorCtr="0">
                <a:noAutofit/>
              </a:bodyPr>
              <a:lstStyle/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900" kern="1200" dirty="0" smtClean="0"/>
              </a:p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900" kern="1200" dirty="0" smtClean="0"/>
                  <a:t>3	</a:t>
                </a:r>
                <a:endParaRPr lang="en-US" sz="1900" kern="1200" dirty="0"/>
              </a:p>
            </p:txBody>
          </p:sp>
        </p:grpSp>
      </p:grpSp>
      <p:grpSp>
        <p:nvGrpSpPr>
          <p:cNvPr id="99" name="Diagram group"/>
          <p:cNvGrpSpPr/>
          <p:nvPr/>
        </p:nvGrpSpPr>
        <p:grpSpPr>
          <a:xfrm>
            <a:off x="1625249" y="3111390"/>
            <a:ext cx="300394" cy="1896446"/>
            <a:chOff x="45148" y="913686"/>
            <a:chExt cx="442078" cy="2363627"/>
          </a:xfrm>
          <a:scene3d>
            <a:camera prst="perspectiveRelaxedModerately" zoom="92000"/>
            <a:lightRig rig="balanced" dir="t">
              <a:rot lat="0" lon="0" rev="12700000"/>
            </a:lightRig>
          </a:scene3d>
        </p:grpSpPr>
        <p:grpSp>
          <p:nvGrpSpPr>
            <p:cNvPr id="100" name="Group 99"/>
            <p:cNvGrpSpPr/>
            <p:nvPr/>
          </p:nvGrpSpPr>
          <p:grpSpPr>
            <a:xfrm>
              <a:off x="45148" y="913686"/>
              <a:ext cx="442078" cy="2363627"/>
              <a:chOff x="45148" y="913686"/>
              <a:chExt cx="442078" cy="2363627"/>
            </a:xfrm>
          </p:grpSpPr>
          <p:sp>
            <p:nvSpPr>
              <p:cNvPr id="101" name="Round Same Side Corner Rectangle 100"/>
              <p:cNvSpPr/>
              <p:nvPr/>
            </p:nvSpPr>
            <p:spPr>
              <a:xfrm rot="10800000">
                <a:off x="45148" y="913686"/>
                <a:ext cx="442078" cy="2363627"/>
              </a:xfrm>
              <a:prstGeom prst="round2SameRect">
                <a:avLst>
                  <a:gd name="adj1" fmla="val 10500"/>
                  <a:gd name="adj2" fmla="val 0"/>
                </a:avLst>
              </a:prstGeom>
              <a:sp3d prstMaterial="plastic">
                <a:bevelT w="50800" h="50800"/>
                <a:bevelB w="50800" h="50800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2" name="Round Same Side Corner Rectangle 4"/>
              <p:cNvSpPr/>
              <p:nvPr/>
            </p:nvSpPr>
            <p:spPr>
              <a:xfrm rot="21600000">
                <a:off x="58743" y="913686"/>
                <a:ext cx="414888" cy="235003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35128" tIns="135128" rIns="135128" bIns="135128" numCol="1" spcCol="1270" anchor="t" anchorCtr="0">
                <a:noAutofit/>
              </a:bodyPr>
              <a:lstStyle/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900" kern="1200" dirty="0" smtClean="0"/>
              </a:p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900" kern="1200" dirty="0" smtClean="0"/>
                  <a:t>2	</a:t>
                </a:r>
                <a:endParaRPr lang="en-US" sz="1900" kern="1200" dirty="0"/>
              </a:p>
            </p:txBody>
          </p:sp>
        </p:grpSp>
      </p:grpSp>
      <p:grpSp>
        <p:nvGrpSpPr>
          <p:cNvPr id="103" name="Diagram group"/>
          <p:cNvGrpSpPr/>
          <p:nvPr/>
        </p:nvGrpSpPr>
        <p:grpSpPr>
          <a:xfrm>
            <a:off x="1222668" y="3106455"/>
            <a:ext cx="300394" cy="1896446"/>
            <a:chOff x="45148" y="913686"/>
            <a:chExt cx="442078" cy="2363627"/>
          </a:xfrm>
          <a:scene3d>
            <a:camera prst="perspectiveRelaxedModerately" zoom="92000"/>
            <a:lightRig rig="balanced" dir="t">
              <a:rot lat="0" lon="0" rev="12700000"/>
            </a:lightRig>
          </a:scene3d>
        </p:grpSpPr>
        <p:grpSp>
          <p:nvGrpSpPr>
            <p:cNvPr id="104" name="Group 103"/>
            <p:cNvGrpSpPr/>
            <p:nvPr/>
          </p:nvGrpSpPr>
          <p:grpSpPr>
            <a:xfrm>
              <a:off x="45148" y="913686"/>
              <a:ext cx="442078" cy="2363627"/>
              <a:chOff x="45148" y="913686"/>
              <a:chExt cx="442078" cy="2363627"/>
            </a:xfrm>
          </p:grpSpPr>
          <p:sp>
            <p:nvSpPr>
              <p:cNvPr id="105" name="Round Same Side Corner Rectangle 104"/>
              <p:cNvSpPr/>
              <p:nvPr/>
            </p:nvSpPr>
            <p:spPr>
              <a:xfrm rot="10800000">
                <a:off x="45148" y="913686"/>
                <a:ext cx="442078" cy="2363627"/>
              </a:xfrm>
              <a:prstGeom prst="round2SameRect">
                <a:avLst>
                  <a:gd name="adj1" fmla="val 10500"/>
                  <a:gd name="adj2" fmla="val 0"/>
                </a:avLst>
              </a:prstGeom>
              <a:sp3d prstMaterial="plastic">
                <a:bevelT w="50800" h="50800"/>
                <a:bevelB w="50800" h="50800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6" name="Round Same Side Corner Rectangle 4"/>
              <p:cNvSpPr/>
              <p:nvPr/>
            </p:nvSpPr>
            <p:spPr>
              <a:xfrm rot="21600000">
                <a:off x="58743" y="913686"/>
                <a:ext cx="414888" cy="235003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35128" tIns="135128" rIns="135128" bIns="135128" numCol="1" spcCol="1270" anchor="t" anchorCtr="0">
                <a:noAutofit/>
              </a:bodyPr>
              <a:lstStyle/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900" kern="1200" dirty="0" smtClean="0"/>
              </a:p>
              <a:p>
                <a:pPr lvl="0" algn="ctr" defTabSz="8445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900" kern="1200" dirty="0" smtClean="0"/>
                  <a:t>1	</a:t>
                </a:r>
                <a:endParaRPr lang="en-US" sz="1900" kern="1200" dirty="0"/>
              </a:p>
            </p:txBody>
          </p:sp>
        </p:grpSp>
      </p:grpSp>
      <p:graphicFrame>
        <p:nvGraphicFramePr>
          <p:cNvPr id="107" name="Diagram 106"/>
          <p:cNvGraphicFramePr/>
          <p:nvPr>
            <p:extLst>
              <p:ext uri="{D42A27DB-BD31-4B8C-83A1-F6EECF244321}">
                <p14:modId xmlns:p14="http://schemas.microsoft.com/office/powerpoint/2010/main" val="764501470"/>
              </p:ext>
            </p:extLst>
          </p:nvPr>
        </p:nvGraphicFramePr>
        <p:xfrm>
          <a:off x="6225823" y="2249444"/>
          <a:ext cx="3922038" cy="20957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pSp>
        <p:nvGrpSpPr>
          <p:cNvPr id="108" name="Group 107"/>
          <p:cNvGrpSpPr/>
          <p:nvPr/>
        </p:nvGrpSpPr>
        <p:grpSpPr>
          <a:xfrm>
            <a:off x="7813493" y="4494700"/>
            <a:ext cx="760967" cy="760967"/>
            <a:chOff x="1967005" y="804569"/>
            <a:chExt cx="760967" cy="760967"/>
          </a:xfrm>
          <a:scene3d>
            <a:camera prst="orthographicFront"/>
            <a:lightRig rig="flat" dir="t"/>
          </a:scene3d>
        </p:grpSpPr>
        <p:sp>
          <p:nvSpPr>
            <p:cNvPr id="109" name="Oval 108"/>
            <p:cNvSpPr/>
            <p:nvPr/>
          </p:nvSpPr>
          <p:spPr>
            <a:xfrm>
              <a:off x="1967005" y="804569"/>
              <a:ext cx="760967" cy="760967"/>
            </a:xfrm>
            <a:prstGeom prst="ellipse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0" name="Oval 4"/>
            <p:cNvSpPr/>
            <p:nvPr/>
          </p:nvSpPr>
          <p:spPr>
            <a:xfrm>
              <a:off x="2078446" y="916010"/>
              <a:ext cx="538085" cy="53808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/>
                <a:t>10 Min</a:t>
              </a:r>
              <a:endParaRPr lang="en-US" sz="18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11548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7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9" y="1"/>
            <a:ext cx="9014916" cy="8286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err="1" smtClean="0"/>
              <a:t>Kutty</a:t>
            </a:r>
            <a:r>
              <a:rPr lang="en-US" sz="2200" dirty="0"/>
              <a:t> </a:t>
            </a:r>
            <a:r>
              <a:rPr lang="en-US" sz="2200" dirty="0" smtClean="0"/>
              <a:t>Version 3.0</a:t>
            </a:r>
            <a:endParaRPr lang="en-US" sz="22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9298242"/>
              </p:ext>
            </p:extLst>
          </p:nvPr>
        </p:nvGraphicFramePr>
        <p:xfrm>
          <a:off x="4171949" y="4367211"/>
          <a:ext cx="4829175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5835"/>
                <a:gridCol w="965835"/>
                <a:gridCol w="965835"/>
                <a:gridCol w="965835"/>
                <a:gridCol w="965835"/>
              </a:tblGrid>
              <a:tr h="232996">
                <a:tc gridSpan="5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Test Case 1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25629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teration 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</a:tr>
              <a:tr h="25629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teration</a:t>
                      </a:r>
                      <a:r>
                        <a:rPr lang="en-US" sz="1200" baseline="0" dirty="0" smtClean="0"/>
                        <a:t> 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  <a:tr h="25629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teration</a:t>
                      </a:r>
                      <a:r>
                        <a:rPr lang="en-US" sz="1200" baseline="0" dirty="0" smtClean="0"/>
                        <a:t> 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  <a:tr h="25629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teration 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  <a:tr h="25629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teration 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Notched Right Arrow 12"/>
          <p:cNvSpPr/>
          <p:nvPr/>
        </p:nvSpPr>
        <p:spPr bwMode="auto">
          <a:xfrm>
            <a:off x="3543405" y="4438651"/>
            <a:ext cx="552345" cy="304800"/>
          </a:xfrm>
          <a:prstGeom prst="notchedRightArrow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AF9B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" name="Left Brace 3"/>
          <p:cNvSpPr/>
          <p:nvPr/>
        </p:nvSpPr>
        <p:spPr bwMode="auto">
          <a:xfrm>
            <a:off x="3391005" y="1690687"/>
            <a:ext cx="304800" cy="614363"/>
          </a:xfrm>
          <a:prstGeom prst="leftBrace">
            <a:avLst/>
          </a:prstGeom>
          <a:noFill/>
          <a:ln w="254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9" name="Left Brace 8"/>
          <p:cNvSpPr/>
          <p:nvPr/>
        </p:nvSpPr>
        <p:spPr bwMode="auto">
          <a:xfrm>
            <a:off x="1800226" y="4136231"/>
            <a:ext cx="476144" cy="2216944"/>
          </a:xfrm>
          <a:prstGeom prst="leftBrace">
            <a:avLst/>
          </a:prstGeom>
          <a:noFill/>
          <a:ln w="254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10" name="Picture 9" descr="Use links below to save imag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77" y="1278731"/>
            <a:ext cx="1466637" cy="1609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Use links below to save image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6" y="4416275"/>
            <a:ext cx="1466850" cy="1656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eft Brace 11"/>
          <p:cNvSpPr/>
          <p:nvPr/>
        </p:nvSpPr>
        <p:spPr bwMode="auto">
          <a:xfrm rot="10800000">
            <a:off x="5210173" y="4728915"/>
            <a:ext cx="457200" cy="1462333"/>
          </a:xfrm>
          <a:prstGeom prst="leftBrace">
            <a:avLst/>
          </a:prstGeom>
          <a:noFill/>
          <a:ln w="254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667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15" name="Picture 11" descr="Use links below to save image.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151" y="4705351"/>
            <a:ext cx="1525616" cy="1533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1444485441"/>
              </p:ext>
            </p:extLst>
          </p:nvPr>
        </p:nvGraphicFramePr>
        <p:xfrm>
          <a:off x="390526" y="1695448"/>
          <a:ext cx="7200900" cy="4667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Title 1"/>
          <p:cNvSpPr txBox="1">
            <a:spLocks/>
          </p:cNvSpPr>
          <p:nvPr/>
        </p:nvSpPr>
        <p:spPr bwMode="auto">
          <a:xfrm>
            <a:off x="2054914" y="2888455"/>
            <a:ext cx="823911" cy="390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>
            <a:lvl1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+mj-lt"/>
                <a:ea typeface="+mj-ea"/>
                <a:cs typeface="+mj-cs"/>
              </a:defRPr>
            </a:lvl1pPr>
            <a:lvl2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2pPr>
            <a:lvl3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3pPr>
            <a:lvl4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4pPr>
            <a:lvl5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5pPr>
            <a:lvl6pPr marL="45715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6pPr>
            <a:lvl7pPr marL="91431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7pPr>
            <a:lvl8pPr marL="137147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8pPr>
            <a:lvl9pPr marL="182863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800" kern="0" dirty="0" smtClean="0"/>
              <a:t>V 1.0</a:t>
            </a:r>
            <a:endParaRPr lang="en-US" sz="1800" kern="0" dirty="0"/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483395" y="6073131"/>
            <a:ext cx="823911" cy="390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>
            <a:lvl1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+mj-lt"/>
                <a:ea typeface="+mj-ea"/>
                <a:cs typeface="+mj-cs"/>
              </a:defRPr>
            </a:lvl1pPr>
            <a:lvl2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2pPr>
            <a:lvl3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3pPr>
            <a:lvl4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4pPr>
            <a:lvl5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5pPr>
            <a:lvl6pPr marL="45715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6pPr>
            <a:lvl7pPr marL="91431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7pPr>
            <a:lvl8pPr marL="137147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8pPr>
            <a:lvl9pPr marL="182863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800" kern="0" dirty="0" smtClean="0"/>
              <a:t>V 2.0</a:t>
            </a:r>
            <a:endParaRPr lang="en-US" sz="1800" kern="0" dirty="0"/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6322114" y="6268393"/>
            <a:ext cx="823911" cy="390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>
            <a:lvl1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+mj-lt"/>
                <a:ea typeface="+mj-ea"/>
                <a:cs typeface="+mj-cs"/>
              </a:defRPr>
            </a:lvl1pPr>
            <a:lvl2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2pPr>
            <a:lvl3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3pPr>
            <a:lvl4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4pPr>
            <a:lvl5pPr algn="l" defTabSz="966702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5pPr>
            <a:lvl6pPr marL="45715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6pPr>
            <a:lvl7pPr marL="914319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7pPr>
            <a:lvl8pPr marL="137147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8pPr>
            <a:lvl9pPr marL="1828637" algn="l" defTabSz="966702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00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800" kern="0" dirty="0" smtClean="0"/>
              <a:t>V 3.0</a:t>
            </a:r>
            <a:endParaRPr lang="en-US" sz="1800" kern="0" dirty="0"/>
          </a:p>
        </p:txBody>
      </p:sp>
    </p:spTree>
    <p:extLst>
      <p:ext uri="{BB962C8B-B14F-4D97-AF65-F5344CB8AC3E}">
        <p14:creationId xmlns:p14="http://schemas.microsoft.com/office/powerpoint/2010/main" val="3920325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smtClean="0"/>
              <a:t>Comparison and Benefits</a:t>
            </a:r>
            <a:endParaRPr lang="en-US" sz="2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Fidelity Internal Information</a:t>
            </a:r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807253819"/>
              </p:ext>
            </p:extLst>
          </p:nvPr>
        </p:nvGraphicFramePr>
        <p:xfrm>
          <a:off x="1703169" y="4936388"/>
          <a:ext cx="6202582" cy="12262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578852784"/>
              </p:ext>
            </p:extLst>
          </p:nvPr>
        </p:nvGraphicFramePr>
        <p:xfrm>
          <a:off x="2981324" y="1451400"/>
          <a:ext cx="3686176" cy="11489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074350971"/>
              </p:ext>
            </p:extLst>
          </p:nvPr>
        </p:nvGraphicFramePr>
        <p:xfrm>
          <a:off x="295275" y="2876550"/>
          <a:ext cx="2781300" cy="1181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4219654575"/>
              </p:ext>
            </p:extLst>
          </p:nvPr>
        </p:nvGraphicFramePr>
        <p:xfrm>
          <a:off x="3390900" y="2886075"/>
          <a:ext cx="2781300" cy="1181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015468830"/>
              </p:ext>
            </p:extLst>
          </p:nvPr>
        </p:nvGraphicFramePr>
        <p:xfrm>
          <a:off x="6496050" y="2876550"/>
          <a:ext cx="2781300" cy="1181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</p:spTree>
    <p:extLst>
      <p:ext uri="{BB962C8B-B14F-4D97-AF65-F5344CB8AC3E}">
        <p14:creationId xmlns:p14="http://schemas.microsoft.com/office/powerpoint/2010/main" val="314787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Graphic spid="12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smtClean="0"/>
              <a:t>Demo</a:t>
            </a:r>
            <a:endParaRPr lang="en-US" sz="2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Fidelity Internal Information</a:t>
            </a:r>
            <a:endParaRPr lang="en-US" dirty="0"/>
          </a:p>
        </p:txBody>
      </p:sp>
      <p:pic>
        <p:nvPicPr>
          <p:cNvPr id="13314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6400" y="2381250"/>
            <a:ext cx="2857500" cy="222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2872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37" tIns="48319" rIns="96637" bIns="48319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200" dirty="0" smtClean="0"/>
              <a:t>Execution Flow</a:t>
            </a:r>
            <a:endParaRPr lang="en-US" sz="2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Fidelity Internal Information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50" y="1519238"/>
            <a:ext cx="7581900" cy="519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6052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Green Line Template">
  <a:themeElements>
    <a:clrScheme name="New Green Line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New 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blank">
  <a:themeElements>
    <a:clrScheme name="blank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B8D30B"/>
      </a:accent2>
      <a:accent3>
        <a:srgbClr val="FFFFFF"/>
      </a:accent3>
      <a:accent4>
        <a:srgbClr val="000000"/>
      </a:accent4>
      <a:accent5>
        <a:srgbClr val="B6CAAA"/>
      </a:accent5>
      <a:accent6>
        <a:srgbClr val="A6BF09"/>
      </a:accent6>
      <a:hlink>
        <a:srgbClr val="0099CC"/>
      </a:hlink>
      <a:folHlink>
        <a:srgbClr val="005A8B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2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solidFill>
          <a:srgbClr val="DDDDDD"/>
        </a:solidFill>
        <a:ln>
          <a:solidFill>
            <a:schemeClr val="bg1">
              <a:lumMod val="65000"/>
            </a:schemeClr>
          </a:solidFill>
        </a:ln>
      </a:spPr>
      <a:bodyPr wrap="square" rtlCol="0">
        <a:noAutofit/>
      </a:bodyPr>
      <a:lstStyle>
        <a:defPPr algn="l"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6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noFill/>
        <a:ln>
          <a:noFill/>
        </a:ln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_New Green Line Template">
  <a:themeElements>
    <a:clrScheme name="New Green Line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New 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1_green line template">
  <a:themeElements>
    <a:clrScheme name="green line template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B8D30B"/>
      </a:accent2>
      <a:accent3>
        <a:srgbClr val="FFFFFF"/>
      </a:accent3>
      <a:accent4>
        <a:srgbClr val="000000"/>
      </a:accent4>
      <a:accent5>
        <a:srgbClr val="B6CAAA"/>
      </a:accent5>
      <a:accent6>
        <a:srgbClr val="A6BF09"/>
      </a:accent6>
      <a:hlink>
        <a:srgbClr val="0099CC"/>
      </a:hlink>
      <a:folHlink>
        <a:srgbClr val="005A8B"/>
      </a:folHlink>
    </a:clrScheme>
    <a:fontScheme name="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07" tIns="45704" rIns="91407" bIns="45704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E84614"/>
          </a:buClr>
          <a:buSzPct val="90000"/>
          <a:buFont typeface="Monotype Sorts" pitchFamily="2" charset="2"/>
          <a:buNone/>
          <a:tabLst/>
          <a:defRPr kumimoji="0" lang="en-US" sz="10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07" tIns="45704" rIns="91407" bIns="45704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E84614"/>
          </a:buClr>
          <a:buSzPct val="90000"/>
          <a:buFont typeface="Monotype Sorts" pitchFamily="2" charset="2"/>
          <a:buNone/>
          <a:tabLst/>
          <a:defRPr kumimoji="0" lang="en-US" sz="10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4_New Green Line Template">
  <a:themeElements>
    <a:clrScheme name="New Green Line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New 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3_Custom Design 4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B8D30B"/>
      </a:accent2>
      <a:accent3>
        <a:srgbClr val="FFFFFF"/>
      </a:accent3>
      <a:accent4>
        <a:srgbClr val="000000"/>
      </a:accent4>
      <a:accent5>
        <a:srgbClr val="B6CAAA"/>
      </a:accent5>
      <a:accent6>
        <a:srgbClr val="A6BF09"/>
      </a:accent6>
      <a:hlink>
        <a:srgbClr val="0099CC"/>
      </a:hlink>
      <a:folHlink>
        <a:srgbClr val="005A8B"/>
      </a:folHlink>
    </a:clrScheme>
    <a:fontScheme name="3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39600"/>
        </a:accent1>
        <a:accent2>
          <a:srgbClr val="98C6EA"/>
        </a:accent2>
        <a:accent3>
          <a:srgbClr val="FFFFFF"/>
        </a:accent3>
        <a:accent4>
          <a:srgbClr val="000000"/>
        </a:accent4>
        <a:accent5>
          <a:srgbClr val="BCC9AA"/>
        </a:accent5>
        <a:accent6>
          <a:srgbClr val="89B3D4"/>
        </a:accent6>
        <a:hlink>
          <a:srgbClr val="ABC785"/>
        </a:hlink>
        <a:folHlink>
          <a:srgbClr val="C1E2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39600"/>
        </a:accent1>
        <a:accent2>
          <a:srgbClr val="6CADE4"/>
        </a:accent2>
        <a:accent3>
          <a:srgbClr val="FFFFFF"/>
        </a:accent3>
        <a:accent4>
          <a:srgbClr val="000000"/>
        </a:accent4>
        <a:accent5>
          <a:srgbClr val="BCC9AA"/>
        </a:accent5>
        <a:accent6>
          <a:srgbClr val="619CCF"/>
        </a:accent6>
        <a:hlink>
          <a:srgbClr val="ABC785"/>
        </a:hlink>
        <a:folHlink>
          <a:srgbClr val="C1E2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solidFill>
          <a:srgbClr val="DDDDDD"/>
        </a:solidFill>
        <a:ln>
          <a:solidFill>
            <a:schemeClr val="bg1">
              <a:lumMod val="65000"/>
            </a:schemeClr>
          </a:solidFill>
        </a:ln>
      </a:spPr>
      <a:bodyPr wrap="square" rtlCol="0">
        <a:noAutofit/>
      </a:bodyPr>
      <a:lstStyle>
        <a:defPPr algn="l"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solidFill>
          <a:srgbClr val="DDDDDD"/>
        </a:solidFill>
        <a:ln>
          <a:solidFill>
            <a:schemeClr val="bg1">
              <a:lumMod val="65000"/>
            </a:schemeClr>
          </a:solidFill>
        </a:ln>
      </a:spPr>
      <a:bodyPr wrap="square" rtlCol="0">
        <a:noAutofit/>
      </a:bodyPr>
      <a:lstStyle>
        <a:defPPr algn="l"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New Green Line Template">
  <a:themeElements>
    <a:clrScheme name="New Green Line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New 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0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noFill/>
        <a:ln>
          <a:noFill/>
        </a:ln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noFill/>
        <a:ln>
          <a:noFill/>
        </a:ln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blank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3C8A2E"/>
      </a:accent1>
      <a:accent2>
        <a:srgbClr val="0070C0"/>
      </a:accent2>
      <a:accent3>
        <a:srgbClr val="92D050"/>
      </a:accent3>
      <a:accent4>
        <a:srgbClr val="00B0F0"/>
      </a:accent4>
      <a:accent5>
        <a:srgbClr val="FFC000"/>
      </a:accent5>
      <a:accent6>
        <a:srgbClr val="FF781D"/>
      </a:accent6>
      <a:hlink>
        <a:srgbClr val="009999"/>
      </a:hlink>
      <a:folHlink>
        <a:srgbClr val="0B4B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noFill/>
        <a:ln>
          <a:noFill/>
        </a:ln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New Green Line Template">
  <a:themeElements>
    <a:clrScheme name="New Green Line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D9A0C"/>
      </a:accent1>
      <a:accent2>
        <a:srgbClr val="A1D373"/>
      </a:accent2>
      <a:accent3>
        <a:srgbClr val="FFFFFF"/>
      </a:accent3>
      <a:accent4>
        <a:srgbClr val="000000"/>
      </a:accent4>
      <a:accent5>
        <a:srgbClr val="B6CAAA"/>
      </a:accent5>
      <a:accent6>
        <a:srgbClr val="91BF68"/>
      </a:accent6>
      <a:hlink>
        <a:srgbClr val="00ADEA"/>
      </a:hlink>
      <a:folHlink>
        <a:srgbClr val="005A8B"/>
      </a:folHlink>
    </a:clrScheme>
    <a:fontScheme name="New Green Lin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AF9B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667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Green Line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C8A2E"/>
        </a:accent1>
        <a:accent2>
          <a:srgbClr val="C7D28A"/>
        </a:accent2>
        <a:accent3>
          <a:srgbClr val="FFFFFF"/>
        </a:accent3>
        <a:accent4>
          <a:srgbClr val="000000"/>
        </a:accent4>
        <a:accent5>
          <a:srgbClr val="AFC4AD"/>
        </a:accent5>
        <a:accent6>
          <a:srgbClr val="B4BE7D"/>
        </a:accent6>
        <a:hlink>
          <a:srgbClr val="739600"/>
        </a:hlink>
        <a:folHlink>
          <a:srgbClr val="B7D2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B8D30B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A6BF09"/>
        </a:accent6>
        <a:hlink>
          <a:srgbClr val="0099CC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Green Line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D9A0C"/>
        </a:accent1>
        <a:accent2>
          <a:srgbClr val="A1D373"/>
        </a:accent2>
        <a:accent3>
          <a:srgbClr val="FFFFFF"/>
        </a:accent3>
        <a:accent4>
          <a:srgbClr val="000000"/>
        </a:accent4>
        <a:accent5>
          <a:srgbClr val="B6CAAA"/>
        </a:accent5>
        <a:accent6>
          <a:srgbClr val="91BF68"/>
        </a:accent6>
        <a:hlink>
          <a:srgbClr val="00ADEA"/>
        </a:hlink>
        <a:folHlink>
          <a:srgbClr val="005A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Green Line Template</Template>
  <TotalTime>103142</TotalTime>
  <Words>294</Words>
  <Application>Microsoft Office PowerPoint</Application>
  <PresentationFormat>Custom</PresentationFormat>
  <Paragraphs>147</Paragraphs>
  <Slides>9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5" baseType="lpstr">
      <vt:lpstr>New Green Line Template</vt:lpstr>
      <vt:lpstr>3_Custom Design</vt:lpstr>
      <vt:lpstr>blank</vt:lpstr>
      <vt:lpstr>1_blank</vt:lpstr>
      <vt:lpstr>1_New Green Line Template</vt:lpstr>
      <vt:lpstr>10_blank</vt:lpstr>
      <vt:lpstr>2_blank</vt:lpstr>
      <vt:lpstr>3_blank</vt:lpstr>
      <vt:lpstr>2_New Green Line Template</vt:lpstr>
      <vt:lpstr>4_blank</vt:lpstr>
      <vt:lpstr>5_blank</vt:lpstr>
      <vt:lpstr>6_blank</vt:lpstr>
      <vt:lpstr>3_New Green Line Template</vt:lpstr>
      <vt:lpstr>11_green line template</vt:lpstr>
      <vt:lpstr>4_New Green Line Template</vt:lpstr>
      <vt:lpstr>think-cell Slide</vt:lpstr>
      <vt:lpstr>Test Case Iterations</vt:lpstr>
      <vt:lpstr>Multi Tasking</vt:lpstr>
      <vt:lpstr>Test Case Structure &amp; Problem Statement</vt:lpstr>
      <vt:lpstr>Existing Flow</vt:lpstr>
      <vt:lpstr>New Solution</vt:lpstr>
      <vt:lpstr>Kutty Version 3.0</vt:lpstr>
      <vt:lpstr>Comparison and Benefits</vt:lpstr>
      <vt:lpstr>Demo</vt:lpstr>
      <vt:lpstr>Execution Flow</vt:lpstr>
    </vt:vector>
  </TitlesOfParts>
  <Company>Fidelity Investment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/Project Name   Business Case</dc:title>
  <dc:creator>a361251</dc:creator>
  <cp:lastModifiedBy>U, Narasimhulu</cp:lastModifiedBy>
  <cp:revision>1553</cp:revision>
  <cp:lastPrinted>2014-08-29T18:47:35Z</cp:lastPrinted>
  <dcterms:created xsi:type="dcterms:W3CDTF">2009-12-07T14:05:34Z</dcterms:created>
  <dcterms:modified xsi:type="dcterms:W3CDTF">2019-01-10T11:0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137860733</vt:i4>
  </property>
  <property fmtid="{D5CDD505-2E9C-101B-9397-08002B2CF9AE}" pid="4" name="_EmailSubject">
    <vt:lpwstr>DoS Deck</vt:lpwstr>
  </property>
  <property fmtid="{D5CDD505-2E9C-101B-9397-08002B2CF9AE}" pid="5" name="_AuthorEmail">
    <vt:lpwstr>Peter.Ferrera@fmr.com</vt:lpwstr>
  </property>
  <property fmtid="{D5CDD505-2E9C-101B-9397-08002B2CF9AE}" pid="6" name="_AuthorEmailDisplayName">
    <vt:lpwstr>Ferrera, Peter</vt:lpwstr>
  </property>
  <property fmtid="{D5CDD505-2E9C-101B-9397-08002B2CF9AE}" pid="7" name="Offisync_ServerID">
    <vt:lpwstr>b66ae4db-2d31-4d69-9e9c-43dcde94714b</vt:lpwstr>
  </property>
  <property fmtid="{D5CDD505-2E9C-101B-9397-08002B2CF9AE}" pid="8" name="Jive_VersionGuid">
    <vt:lpwstr>fd87fe35-b4d4-4fb8-a680-cf43029c096c</vt:lpwstr>
  </property>
  <property fmtid="{D5CDD505-2E9C-101B-9397-08002B2CF9AE}" pid="9" name="Jive_LatestUserAccountName">
    <vt:lpwstr>a573942</vt:lpwstr>
  </property>
  <property fmtid="{D5CDD505-2E9C-101B-9397-08002B2CF9AE}" pid="10" name="Offisync_ProviderInitializationData">
    <vt:lpwstr>https://ribbit.fmr.com</vt:lpwstr>
  </property>
  <property fmtid="{D5CDD505-2E9C-101B-9397-08002B2CF9AE}" pid="11" name="Offisync_UniqueId">
    <vt:lpwstr>385886</vt:lpwstr>
  </property>
  <property fmtid="{D5CDD505-2E9C-101B-9397-08002B2CF9AE}" pid="12" name="Offisync_UpdateToken">
    <vt:lpwstr>1</vt:lpwstr>
  </property>
</Properties>
</file>